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layout3.xml" ContentType="application/vnd.openxmlformats-officedocument.drawingml.diagramLayout+xml"/>
  <Default Extension="gif" ContentType="image/gif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png" ContentType="image/png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8" r:id="rId2"/>
    <p:sldId id="443" r:id="rId3"/>
    <p:sldId id="446" r:id="rId4"/>
    <p:sldId id="264" r:id="rId5"/>
    <p:sldId id="261" r:id="rId6"/>
    <p:sldId id="267" r:id="rId7"/>
    <p:sldId id="417" r:id="rId8"/>
    <p:sldId id="410" r:id="rId9"/>
    <p:sldId id="310" r:id="rId10"/>
    <p:sldId id="418" r:id="rId11"/>
    <p:sldId id="424" r:id="rId12"/>
    <p:sldId id="445" r:id="rId13"/>
    <p:sldId id="447" r:id="rId14"/>
    <p:sldId id="430" r:id="rId15"/>
  </p:sldIdLst>
  <p:sldSz cx="9906000" cy="6858000" type="A4"/>
  <p:notesSz cx="6858000" cy="9144000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Interstate-Light" pitchFamily="2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FFFFFF"/>
    <a:srgbClr val="996600"/>
    <a:srgbClr val="FFCC66"/>
    <a:srgbClr val="CC9900"/>
    <a:srgbClr val="663300"/>
    <a:srgbClr val="FFFF99"/>
    <a:srgbClr val="CC6600"/>
    <a:srgbClr val="008000"/>
    <a:srgbClr val="FF33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95" autoAdjust="0"/>
    <p:restoredTop sz="87619" autoAdjust="0"/>
  </p:normalViewPr>
  <p:slideViewPr>
    <p:cSldViewPr snapToGrid="0">
      <p:cViewPr>
        <p:scale>
          <a:sx n="100" d="100"/>
          <a:sy n="100" d="100"/>
        </p:scale>
        <p:origin x="-726" y="-72"/>
      </p:cViewPr>
      <p:guideLst>
        <p:guide orient="horz" pos="3992"/>
        <p:guide pos="6227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7.xml"/></Relationships>
</file>

<file path=ppt/diagrams/_rels/data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image" Target="../media/image104.png"/></Relationships>
</file>

<file path=ppt/diagrams/_rels/drawing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image" Target="../media/image10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87B1B9-37FB-4C5B-91BE-56C29B9E06ED}" type="doc">
      <dgm:prSet loTypeId="urn:microsoft.com/office/officeart/2005/8/layout/lProcess2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5E6B71F7-D3D8-406F-8D97-D823FA79B4FC}">
      <dgm:prSet phldrT="[Text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it-IT" sz="2400" dirty="0" smtClean="0">
              <a:solidFill>
                <a:schemeClr val="tx1"/>
              </a:solidFill>
              <a:latin typeface="Interstate-Light" pitchFamily="2" charset="0"/>
            </a:rPr>
            <a:t>Infrastruttura:</a:t>
          </a:r>
        </a:p>
        <a:p>
          <a:r>
            <a:rPr lang="it-IT" sz="2400" dirty="0" smtClean="0">
              <a:solidFill>
                <a:schemeClr val="tx1"/>
              </a:solidFill>
              <a:latin typeface="Interstate-Light" pitchFamily="2" charset="0"/>
            </a:rPr>
            <a:t>business enabler</a:t>
          </a:r>
          <a:endParaRPr lang="it-IT" sz="2400" dirty="0">
            <a:solidFill>
              <a:schemeClr val="tx1"/>
            </a:solidFill>
            <a:latin typeface="Interstate-Light" pitchFamily="2" charset="0"/>
          </a:endParaRPr>
        </a:p>
      </dgm:t>
    </dgm:pt>
    <dgm:pt modelId="{42CE2E51-74A2-4EF6-B87B-728591499E6C}" type="parTrans" cxnId="{5FD9D2B5-10AC-4459-8D92-534BA416D91E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77DDC94D-1DDA-4FAA-BB42-45D2ADEE6560}" type="sibTrans" cxnId="{5FD9D2B5-10AC-4459-8D92-534BA416D91E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2EF5046A-3078-4606-AE7A-8081BA702297}">
      <dgm:prSet phldrT="[Text]"/>
      <dgm:spPr/>
      <dgm:t>
        <a:bodyPr/>
        <a:lstStyle/>
        <a:p>
          <a:r>
            <a:rPr lang="it-IT" dirty="0" smtClean="0">
              <a:solidFill>
                <a:schemeClr val="tx1"/>
              </a:solidFill>
              <a:latin typeface="Interstate-Light" pitchFamily="2" charset="0"/>
            </a:rPr>
            <a:t>Backbone Ottico ad Alta Capacità</a:t>
          </a:r>
          <a:endParaRPr lang="it-IT" dirty="0">
            <a:solidFill>
              <a:schemeClr val="tx1"/>
            </a:solidFill>
            <a:latin typeface="Interstate-Light" pitchFamily="2" charset="0"/>
          </a:endParaRPr>
        </a:p>
      </dgm:t>
    </dgm:pt>
    <dgm:pt modelId="{C723359C-0B5A-488C-A25F-90838EA74E83}" type="parTrans" cxnId="{5D799A82-48FD-4578-83E4-83B8BD2AA785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225BF360-7653-41ED-8487-2BB1341E152B}" type="sibTrans" cxnId="{5D799A82-48FD-4578-83E4-83B8BD2AA785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A4948066-DF09-436A-AE6B-E516F65BAB73}">
      <dgm:prSet phldrT="[Text]"/>
      <dgm:spPr/>
      <dgm:t>
        <a:bodyPr/>
        <a:lstStyle/>
        <a:p>
          <a:r>
            <a:rPr lang="it-IT" dirty="0" smtClean="0">
              <a:solidFill>
                <a:schemeClr val="tx1"/>
              </a:solidFill>
              <a:latin typeface="Interstate-Light" pitchFamily="2" charset="0"/>
            </a:rPr>
            <a:t>Piattaforme di Servizio Aperte</a:t>
          </a:r>
          <a:endParaRPr lang="it-IT" dirty="0">
            <a:solidFill>
              <a:schemeClr val="tx1"/>
            </a:solidFill>
            <a:latin typeface="Interstate-Light" pitchFamily="2" charset="0"/>
          </a:endParaRPr>
        </a:p>
      </dgm:t>
    </dgm:pt>
    <dgm:pt modelId="{9FC3F89D-2D59-4907-BAC3-951D425D2B52}" type="parTrans" cxnId="{120C07FD-623F-4310-BD37-61B58330714D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1DDBAEDD-4995-42D2-8FF8-AB18B4589B24}" type="sibTrans" cxnId="{120C07FD-623F-4310-BD37-61B58330714D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A83DC9DD-A70C-46AF-9C1B-71EE5BBFB0B3}">
      <dgm:prSet phldrT="[Text]"/>
      <dgm:spPr/>
      <dgm:t>
        <a:bodyPr/>
        <a:lstStyle/>
        <a:p>
          <a:r>
            <a:rPr lang="it-IT" dirty="0" smtClean="0">
              <a:solidFill>
                <a:schemeClr val="tx1"/>
              </a:solidFill>
              <a:latin typeface="Interstate-Light" pitchFamily="2" charset="0"/>
            </a:rPr>
            <a:t>Servizi Full-IP</a:t>
          </a:r>
          <a:endParaRPr lang="it-IT" dirty="0">
            <a:solidFill>
              <a:schemeClr val="tx1"/>
            </a:solidFill>
            <a:latin typeface="Interstate-Light" pitchFamily="2" charset="0"/>
          </a:endParaRPr>
        </a:p>
      </dgm:t>
    </dgm:pt>
    <dgm:pt modelId="{19A42E2F-3022-4510-8863-653E01DB115A}" type="parTrans" cxnId="{8326B067-E54E-4579-8E84-F68528D2CB84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F7F265E8-6E7B-43A9-93AC-FB2A3B3109AE}" type="sibTrans" cxnId="{8326B067-E54E-4579-8E84-F68528D2CB84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ED699394-883A-4190-B253-D52C0DE31FEB}">
      <dgm:prSet phldrT="[Text]"/>
      <dgm:spPr/>
      <dgm:t>
        <a:bodyPr/>
        <a:lstStyle/>
        <a:p>
          <a:r>
            <a:rPr lang="it-IT" dirty="0" smtClean="0">
              <a:solidFill>
                <a:schemeClr val="tx1"/>
              </a:solidFill>
              <a:latin typeface="Interstate-Light" pitchFamily="2" charset="0"/>
            </a:rPr>
            <a:t>Rete fissa/mobile</a:t>
          </a:r>
          <a:endParaRPr lang="it-IT" dirty="0">
            <a:solidFill>
              <a:schemeClr val="tx1"/>
            </a:solidFill>
            <a:latin typeface="Interstate-Light" pitchFamily="2" charset="0"/>
          </a:endParaRPr>
        </a:p>
      </dgm:t>
    </dgm:pt>
    <dgm:pt modelId="{0CB5F172-53F2-4C42-9D7E-3E47106C69EF}" type="parTrans" cxnId="{ED173351-F072-4833-9E92-EBF667D2FF30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87C322A7-4A30-4BEE-8E10-60AFB1B90D00}" type="sibTrans" cxnId="{ED173351-F072-4833-9E92-EBF667D2FF30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5B37870A-8E0A-40EA-97E6-09A7FF904954}" type="pres">
      <dgm:prSet presAssocID="{3787B1B9-37FB-4C5B-91BE-56C29B9E06ED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F9AE385-9996-487E-8234-20AD316C8CB3}" type="pres">
      <dgm:prSet presAssocID="{5E6B71F7-D3D8-406F-8D97-D823FA79B4FC}" presName="compNode" presStyleCnt="0"/>
      <dgm:spPr/>
    </dgm:pt>
    <dgm:pt modelId="{BBE9B0D6-2B6F-485D-857B-62EB87C36AB2}" type="pres">
      <dgm:prSet presAssocID="{5E6B71F7-D3D8-406F-8D97-D823FA79B4FC}" presName="aNode" presStyleLbl="bgShp" presStyleIdx="0" presStyleCnt="1" custLinFactNeighborX="-9890" custLinFactNeighborY="-200"/>
      <dgm:spPr/>
      <dgm:t>
        <a:bodyPr/>
        <a:lstStyle/>
        <a:p>
          <a:endParaRPr lang="it-IT"/>
        </a:p>
      </dgm:t>
    </dgm:pt>
    <dgm:pt modelId="{8CA4EB7B-5363-4E2F-8B68-C31FF2F6DDE4}" type="pres">
      <dgm:prSet presAssocID="{5E6B71F7-D3D8-406F-8D97-D823FA79B4FC}" presName="textNode" presStyleLbl="bgShp" presStyleIdx="0" presStyleCnt="1"/>
      <dgm:spPr/>
      <dgm:t>
        <a:bodyPr/>
        <a:lstStyle/>
        <a:p>
          <a:endParaRPr lang="it-IT"/>
        </a:p>
      </dgm:t>
    </dgm:pt>
    <dgm:pt modelId="{52FF9631-1518-4AF9-B61A-431D218120C7}" type="pres">
      <dgm:prSet presAssocID="{5E6B71F7-D3D8-406F-8D97-D823FA79B4FC}" presName="compChildNode" presStyleCnt="0"/>
      <dgm:spPr/>
    </dgm:pt>
    <dgm:pt modelId="{1B129A73-76E6-4BD0-8039-317C6120F5B7}" type="pres">
      <dgm:prSet presAssocID="{5E6B71F7-D3D8-406F-8D97-D823FA79B4FC}" presName="theInnerList" presStyleCnt="0"/>
      <dgm:spPr/>
    </dgm:pt>
    <dgm:pt modelId="{C92981AE-1027-4B4B-BFCC-6FD9B61E4EA5}" type="pres">
      <dgm:prSet presAssocID="{A4948066-DF09-436A-AE6B-E516F65BAB73}" presName="child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6FE1274-7999-4523-8D75-3F5745C6C570}" type="pres">
      <dgm:prSet presAssocID="{A4948066-DF09-436A-AE6B-E516F65BAB73}" presName="aSpace2" presStyleCnt="0"/>
      <dgm:spPr/>
    </dgm:pt>
    <dgm:pt modelId="{C05E048B-848F-450F-8881-ACBC5A0C7740}" type="pres">
      <dgm:prSet presAssocID="{A83DC9DD-A70C-46AF-9C1B-71EE5BBFB0B3}" presName="child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289C5B3-0EBC-488B-B5B9-39950AEA0A74}" type="pres">
      <dgm:prSet presAssocID="{A83DC9DD-A70C-46AF-9C1B-71EE5BBFB0B3}" presName="aSpace2" presStyleCnt="0"/>
      <dgm:spPr/>
    </dgm:pt>
    <dgm:pt modelId="{D6F819C1-C490-434B-8713-A90C0DC3E667}" type="pres">
      <dgm:prSet presAssocID="{ED699394-883A-4190-B253-D52C0DE31FEB}" presName="child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C8B7303-C3CE-40C2-A598-D6A6B5F15745}" type="pres">
      <dgm:prSet presAssocID="{ED699394-883A-4190-B253-D52C0DE31FEB}" presName="aSpace2" presStyleCnt="0"/>
      <dgm:spPr/>
    </dgm:pt>
    <dgm:pt modelId="{AD3131A6-C42E-4707-A14C-D660DA040418}" type="pres">
      <dgm:prSet presAssocID="{2EF5046A-3078-4606-AE7A-8081BA702297}" presName="child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E50B50F-4717-4D51-8DF9-BD6F63EED66F}" type="presOf" srcId="{3787B1B9-37FB-4C5B-91BE-56C29B9E06ED}" destId="{5B37870A-8E0A-40EA-97E6-09A7FF904954}" srcOrd="0" destOrd="0" presId="urn:microsoft.com/office/officeart/2005/8/layout/lProcess2"/>
    <dgm:cxn modelId="{8326B067-E54E-4579-8E84-F68528D2CB84}" srcId="{5E6B71F7-D3D8-406F-8D97-D823FA79B4FC}" destId="{A83DC9DD-A70C-46AF-9C1B-71EE5BBFB0B3}" srcOrd="1" destOrd="0" parTransId="{19A42E2F-3022-4510-8863-653E01DB115A}" sibTransId="{F7F265E8-6E7B-43A9-93AC-FB2A3B3109AE}"/>
    <dgm:cxn modelId="{E36AB18E-43AF-42C3-84DB-085D0EC63C4D}" type="presOf" srcId="{5E6B71F7-D3D8-406F-8D97-D823FA79B4FC}" destId="{8CA4EB7B-5363-4E2F-8B68-C31FF2F6DDE4}" srcOrd="1" destOrd="0" presId="urn:microsoft.com/office/officeart/2005/8/layout/lProcess2"/>
    <dgm:cxn modelId="{5D799A82-48FD-4578-83E4-83B8BD2AA785}" srcId="{5E6B71F7-D3D8-406F-8D97-D823FA79B4FC}" destId="{2EF5046A-3078-4606-AE7A-8081BA702297}" srcOrd="3" destOrd="0" parTransId="{C723359C-0B5A-488C-A25F-90838EA74E83}" sibTransId="{225BF360-7653-41ED-8487-2BB1341E152B}"/>
    <dgm:cxn modelId="{ED173351-F072-4833-9E92-EBF667D2FF30}" srcId="{5E6B71F7-D3D8-406F-8D97-D823FA79B4FC}" destId="{ED699394-883A-4190-B253-D52C0DE31FEB}" srcOrd="2" destOrd="0" parTransId="{0CB5F172-53F2-4C42-9D7E-3E47106C69EF}" sibTransId="{87C322A7-4A30-4BEE-8E10-60AFB1B90D00}"/>
    <dgm:cxn modelId="{AF103626-9207-438E-BDF7-7817FA95EED8}" type="presOf" srcId="{2EF5046A-3078-4606-AE7A-8081BA702297}" destId="{AD3131A6-C42E-4707-A14C-D660DA040418}" srcOrd="0" destOrd="0" presId="urn:microsoft.com/office/officeart/2005/8/layout/lProcess2"/>
    <dgm:cxn modelId="{691208A3-EA43-4B09-80DD-D4E20244E689}" type="presOf" srcId="{ED699394-883A-4190-B253-D52C0DE31FEB}" destId="{D6F819C1-C490-434B-8713-A90C0DC3E667}" srcOrd="0" destOrd="0" presId="urn:microsoft.com/office/officeart/2005/8/layout/lProcess2"/>
    <dgm:cxn modelId="{7FE90C3F-97F0-4D38-A982-905AF801881B}" type="presOf" srcId="{A83DC9DD-A70C-46AF-9C1B-71EE5BBFB0B3}" destId="{C05E048B-848F-450F-8881-ACBC5A0C7740}" srcOrd="0" destOrd="0" presId="urn:microsoft.com/office/officeart/2005/8/layout/lProcess2"/>
    <dgm:cxn modelId="{5FD9D2B5-10AC-4459-8D92-534BA416D91E}" srcId="{3787B1B9-37FB-4C5B-91BE-56C29B9E06ED}" destId="{5E6B71F7-D3D8-406F-8D97-D823FA79B4FC}" srcOrd="0" destOrd="0" parTransId="{42CE2E51-74A2-4EF6-B87B-728591499E6C}" sibTransId="{77DDC94D-1DDA-4FAA-BB42-45D2ADEE6560}"/>
    <dgm:cxn modelId="{120C07FD-623F-4310-BD37-61B58330714D}" srcId="{5E6B71F7-D3D8-406F-8D97-D823FA79B4FC}" destId="{A4948066-DF09-436A-AE6B-E516F65BAB73}" srcOrd="0" destOrd="0" parTransId="{9FC3F89D-2D59-4907-BAC3-951D425D2B52}" sibTransId="{1DDBAEDD-4995-42D2-8FF8-AB18B4589B24}"/>
    <dgm:cxn modelId="{E4C4EF08-D861-46E6-8B30-33447AAD899B}" type="presOf" srcId="{5E6B71F7-D3D8-406F-8D97-D823FA79B4FC}" destId="{BBE9B0D6-2B6F-485D-857B-62EB87C36AB2}" srcOrd="0" destOrd="0" presId="urn:microsoft.com/office/officeart/2005/8/layout/lProcess2"/>
    <dgm:cxn modelId="{31E68B35-5AEC-4D8E-AEFE-9626595D63DC}" type="presOf" srcId="{A4948066-DF09-436A-AE6B-E516F65BAB73}" destId="{C92981AE-1027-4B4B-BFCC-6FD9B61E4EA5}" srcOrd="0" destOrd="0" presId="urn:microsoft.com/office/officeart/2005/8/layout/lProcess2"/>
    <dgm:cxn modelId="{4172F10F-E93A-41E4-BDBE-578E67D4623A}" type="presParOf" srcId="{5B37870A-8E0A-40EA-97E6-09A7FF904954}" destId="{6F9AE385-9996-487E-8234-20AD316C8CB3}" srcOrd="0" destOrd="0" presId="urn:microsoft.com/office/officeart/2005/8/layout/lProcess2"/>
    <dgm:cxn modelId="{0AEDC88C-6AB7-43C0-BCB4-BFFCB4297426}" type="presParOf" srcId="{6F9AE385-9996-487E-8234-20AD316C8CB3}" destId="{BBE9B0D6-2B6F-485D-857B-62EB87C36AB2}" srcOrd="0" destOrd="0" presId="urn:microsoft.com/office/officeart/2005/8/layout/lProcess2"/>
    <dgm:cxn modelId="{0EE3B361-C7BF-4129-B570-EB58EE280F04}" type="presParOf" srcId="{6F9AE385-9996-487E-8234-20AD316C8CB3}" destId="{8CA4EB7B-5363-4E2F-8B68-C31FF2F6DDE4}" srcOrd="1" destOrd="0" presId="urn:microsoft.com/office/officeart/2005/8/layout/lProcess2"/>
    <dgm:cxn modelId="{899A33D9-BBDB-4A39-BEE1-B7DF5D8C50BA}" type="presParOf" srcId="{6F9AE385-9996-487E-8234-20AD316C8CB3}" destId="{52FF9631-1518-4AF9-B61A-431D218120C7}" srcOrd="2" destOrd="0" presId="urn:microsoft.com/office/officeart/2005/8/layout/lProcess2"/>
    <dgm:cxn modelId="{F45C7411-4E7A-4A0E-A700-C5D08EAAE884}" type="presParOf" srcId="{52FF9631-1518-4AF9-B61A-431D218120C7}" destId="{1B129A73-76E6-4BD0-8039-317C6120F5B7}" srcOrd="0" destOrd="0" presId="urn:microsoft.com/office/officeart/2005/8/layout/lProcess2"/>
    <dgm:cxn modelId="{C5B044DA-02CE-4B97-A58E-2D98F73AE95C}" type="presParOf" srcId="{1B129A73-76E6-4BD0-8039-317C6120F5B7}" destId="{C92981AE-1027-4B4B-BFCC-6FD9B61E4EA5}" srcOrd="0" destOrd="0" presId="urn:microsoft.com/office/officeart/2005/8/layout/lProcess2"/>
    <dgm:cxn modelId="{0A3E7357-D661-4C55-80E0-440B747F5947}" type="presParOf" srcId="{1B129A73-76E6-4BD0-8039-317C6120F5B7}" destId="{96FE1274-7999-4523-8D75-3F5745C6C570}" srcOrd="1" destOrd="0" presId="urn:microsoft.com/office/officeart/2005/8/layout/lProcess2"/>
    <dgm:cxn modelId="{0FE9BD40-5B13-4FC2-B786-4ADEFA57917D}" type="presParOf" srcId="{1B129A73-76E6-4BD0-8039-317C6120F5B7}" destId="{C05E048B-848F-450F-8881-ACBC5A0C7740}" srcOrd="2" destOrd="0" presId="urn:microsoft.com/office/officeart/2005/8/layout/lProcess2"/>
    <dgm:cxn modelId="{067193C9-FBB3-4E49-8C27-38EE867B920E}" type="presParOf" srcId="{1B129A73-76E6-4BD0-8039-317C6120F5B7}" destId="{C289C5B3-0EBC-488B-B5B9-39950AEA0A74}" srcOrd="3" destOrd="0" presId="urn:microsoft.com/office/officeart/2005/8/layout/lProcess2"/>
    <dgm:cxn modelId="{D4225D49-46E8-4901-96BF-F0C2A466BBE0}" type="presParOf" srcId="{1B129A73-76E6-4BD0-8039-317C6120F5B7}" destId="{D6F819C1-C490-434B-8713-A90C0DC3E667}" srcOrd="4" destOrd="0" presId="urn:microsoft.com/office/officeart/2005/8/layout/lProcess2"/>
    <dgm:cxn modelId="{53063989-4D9D-4BF7-8945-D7D021ECC20B}" type="presParOf" srcId="{1B129A73-76E6-4BD0-8039-317C6120F5B7}" destId="{8C8B7303-C3CE-40C2-A598-D6A6B5F15745}" srcOrd="5" destOrd="0" presId="urn:microsoft.com/office/officeart/2005/8/layout/lProcess2"/>
    <dgm:cxn modelId="{116A3D53-01B6-40EC-8004-FB51234B2343}" type="presParOf" srcId="{1B129A73-76E6-4BD0-8039-317C6120F5B7}" destId="{AD3131A6-C42E-4707-A14C-D660DA040418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A9ACF90-9169-4364-A561-6BC3807098B9}" type="doc">
      <dgm:prSet loTypeId="urn:microsoft.com/office/officeart/2005/8/layout/arrow4" loCatId="process" qsTypeId="urn:microsoft.com/office/officeart/2005/8/quickstyle/3d9" qsCatId="3D" csTypeId="urn:microsoft.com/office/officeart/2005/8/colors/accent1_1" csCatId="accent1" phldr="1"/>
      <dgm:spPr/>
      <dgm:t>
        <a:bodyPr/>
        <a:lstStyle/>
        <a:p>
          <a:endParaRPr lang="it-IT"/>
        </a:p>
      </dgm:t>
    </dgm:pt>
    <dgm:pt modelId="{4D7F30F8-5053-489B-8B82-B1B0BAC291C9}">
      <dgm:prSet phldrT="[Text]"/>
      <dgm:spPr/>
      <dgm:t>
        <a:bodyPr/>
        <a:lstStyle/>
        <a:p>
          <a:r>
            <a:rPr lang="it-IT" dirty="0" smtClean="0"/>
            <a:t>   </a:t>
          </a:r>
          <a:endParaRPr lang="it-IT" dirty="0"/>
        </a:p>
      </dgm:t>
    </dgm:pt>
    <dgm:pt modelId="{FB4B370D-6741-44F3-A563-1C1D8873610C}" type="sibTrans" cxnId="{724EAAC4-209C-4A28-9D26-90E0E73E6C19}">
      <dgm:prSet/>
      <dgm:spPr/>
      <dgm:t>
        <a:bodyPr/>
        <a:lstStyle/>
        <a:p>
          <a:endParaRPr lang="it-IT"/>
        </a:p>
      </dgm:t>
    </dgm:pt>
    <dgm:pt modelId="{B17C39EE-376B-4C41-AA0C-0DE544D1B53E}" type="parTrans" cxnId="{724EAAC4-209C-4A28-9D26-90E0E73E6C19}">
      <dgm:prSet/>
      <dgm:spPr/>
      <dgm:t>
        <a:bodyPr/>
        <a:lstStyle/>
        <a:p>
          <a:endParaRPr lang="it-IT"/>
        </a:p>
      </dgm:t>
    </dgm:pt>
    <dgm:pt modelId="{4373AA97-FAF8-45B3-8B15-2D675A1949CF}">
      <dgm:prSet phldrT="[Text]"/>
      <dgm:spPr/>
      <dgm:t>
        <a:bodyPr/>
        <a:lstStyle/>
        <a:p>
          <a:r>
            <a:rPr lang="it-IT" dirty="0" smtClean="0"/>
            <a:t>  </a:t>
          </a:r>
          <a:endParaRPr lang="it-IT" dirty="0"/>
        </a:p>
      </dgm:t>
    </dgm:pt>
    <dgm:pt modelId="{17C07C45-8F7F-45DB-89E2-0E162062BD31}" type="sibTrans" cxnId="{39EBA73D-B405-46CE-91B5-22E4C607E807}">
      <dgm:prSet/>
      <dgm:spPr/>
      <dgm:t>
        <a:bodyPr/>
        <a:lstStyle/>
        <a:p>
          <a:endParaRPr lang="it-IT"/>
        </a:p>
      </dgm:t>
    </dgm:pt>
    <dgm:pt modelId="{B618B0F6-F27F-4706-8E73-7262138AF699}" type="parTrans" cxnId="{39EBA73D-B405-46CE-91B5-22E4C607E807}">
      <dgm:prSet/>
      <dgm:spPr/>
      <dgm:t>
        <a:bodyPr/>
        <a:lstStyle/>
        <a:p>
          <a:endParaRPr lang="it-IT"/>
        </a:p>
      </dgm:t>
    </dgm:pt>
    <dgm:pt modelId="{381807A2-E39D-431F-9C03-4B3F19A9791B}" type="pres">
      <dgm:prSet presAssocID="{3A9ACF90-9169-4364-A561-6BC3807098B9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C177B84A-656C-48B6-A43D-B8B5443A0660}" type="pres">
      <dgm:prSet presAssocID="{4D7F30F8-5053-489B-8B82-B1B0BAC291C9}" presName="upArrow" presStyleLbl="node1" presStyleIdx="0" presStyleCnt="2" custScaleX="206228" custLinFactNeighborX="25759" custLinFactNeighborY="604"/>
      <dgm:spPr>
        <a:blipFill rotWithShape="0">
          <a:blip xmlns:r="http://schemas.openxmlformats.org/officeDocument/2006/relationships" r:embed="rId1"/>
          <a:stretch>
            <a:fillRect/>
          </a:stretch>
        </a:blipFill>
        <a:effectLst>
          <a:outerShdw blurRad="50800" dist="38100" dir="8100000" sx="104000" sy="104000" algn="tr" rotWithShape="0">
            <a:prstClr val="black">
              <a:alpha val="40000"/>
            </a:prstClr>
          </a:outerShdw>
        </a:effectLst>
      </dgm:spPr>
    </dgm:pt>
    <dgm:pt modelId="{03BFAB09-3121-44D0-8224-827424D4E2FA}" type="pres">
      <dgm:prSet presAssocID="{4D7F30F8-5053-489B-8B82-B1B0BAC291C9}" presName="upArrowText" presStyleLbl="revTx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3E37E54-3F0F-4700-9DE5-9351C566F99E}" type="pres">
      <dgm:prSet presAssocID="{4373AA97-FAF8-45B3-8B15-2D675A1949CF}" presName="downArrow" presStyleLbl="node1" presStyleIdx="1" presStyleCnt="2" custScaleX="206228" custLinFactNeighborX="81238" custLinFactNeighborY="-4831"/>
      <dgm:spPr>
        <a:blipFill rotWithShape="0">
          <a:blip xmlns:r="http://schemas.openxmlformats.org/officeDocument/2006/relationships" r:embed="rId2"/>
          <a:stretch>
            <a:fillRect/>
          </a:stretch>
        </a:blipFill>
        <a:effectLst>
          <a:outerShdw blurRad="50800" dist="38100" dir="8100000" sx="104000" sy="104000" algn="tr" rotWithShape="0">
            <a:prstClr val="black">
              <a:alpha val="40000"/>
            </a:prstClr>
          </a:outerShdw>
        </a:effectLst>
      </dgm:spPr>
    </dgm:pt>
    <dgm:pt modelId="{6827F46D-9476-4771-9FCD-32DDC650446A}" type="pres">
      <dgm:prSet presAssocID="{4373AA97-FAF8-45B3-8B15-2D675A1949CF}" presName="downArrowText" presStyleLbl="revTx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24EAAC4-209C-4A28-9D26-90E0E73E6C19}" srcId="{3A9ACF90-9169-4364-A561-6BC3807098B9}" destId="{4D7F30F8-5053-489B-8B82-B1B0BAC291C9}" srcOrd="0" destOrd="0" parTransId="{B17C39EE-376B-4C41-AA0C-0DE544D1B53E}" sibTransId="{FB4B370D-6741-44F3-A563-1C1D8873610C}"/>
    <dgm:cxn modelId="{AF18A45D-BEEC-44F0-A9BD-1D4F84B51224}" type="presOf" srcId="{3A9ACF90-9169-4364-A561-6BC3807098B9}" destId="{381807A2-E39D-431F-9C03-4B3F19A9791B}" srcOrd="0" destOrd="0" presId="urn:microsoft.com/office/officeart/2005/8/layout/arrow4"/>
    <dgm:cxn modelId="{39EBA73D-B405-46CE-91B5-22E4C607E807}" srcId="{3A9ACF90-9169-4364-A561-6BC3807098B9}" destId="{4373AA97-FAF8-45B3-8B15-2D675A1949CF}" srcOrd="1" destOrd="0" parTransId="{B618B0F6-F27F-4706-8E73-7262138AF699}" sibTransId="{17C07C45-8F7F-45DB-89E2-0E162062BD31}"/>
    <dgm:cxn modelId="{6B78D989-87D9-43F9-A193-8C5CB7903DF7}" type="presOf" srcId="{4373AA97-FAF8-45B3-8B15-2D675A1949CF}" destId="{6827F46D-9476-4771-9FCD-32DDC650446A}" srcOrd="0" destOrd="0" presId="urn:microsoft.com/office/officeart/2005/8/layout/arrow4"/>
    <dgm:cxn modelId="{EE9CFEAA-EB2D-4237-AF80-E455C97D58EA}" type="presOf" srcId="{4D7F30F8-5053-489B-8B82-B1B0BAC291C9}" destId="{03BFAB09-3121-44D0-8224-827424D4E2FA}" srcOrd="0" destOrd="0" presId="urn:microsoft.com/office/officeart/2005/8/layout/arrow4"/>
    <dgm:cxn modelId="{9C9FE2D1-FED6-4B4F-B7CF-14E6849D4398}" type="presParOf" srcId="{381807A2-E39D-431F-9C03-4B3F19A9791B}" destId="{C177B84A-656C-48B6-A43D-B8B5443A0660}" srcOrd="0" destOrd="0" presId="urn:microsoft.com/office/officeart/2005/8/layout/arrow4"/>
    <dgm:cxn modelId="{DB78AD69-1304-455C-9B10-56C92C552197}" type="presParOf" srcId="{381807A2-E39D-431F-9C03-4B3F19A9791B}" destId="{03BFAB09-3121-44D0-8224-827424D4E2FA}" srcOrd="1" destOrd="0" presId="urn:microsoft.com/office/officeart/2005/8/layout/arrow4"/>
    <dgm:cxn modelId="{0897F329-6660-4964-BB10-68FC3FB6FE31}" type="presParOf" srcId="{381807A2-E39D-431F-9C03-4B3F19A9791B}" destId="{C3E37E54-3F0F-4700-9DE5-9351C566F99E}" srcOrd="2" destOrd="0" presId="urn:microsoft.com/office/officeart/2005/8/layout/arrow4"/>
    <dgm:cxn modelId="{3AEE978B-E9D8-4D9D-9199-E816A62068B0}" type="presParOf" srcId="{381807A2-E39D-431F-9C03-4B3F19A9791B}" destId="{6827F46D-9476-4771-9FCD-32DDC650446A}" srcOrd="3" destOrd="0" presId="urn:microsoft.com/office/officeart/2005/8/layout/arrow4"/>
  </dgm:cxnLst>
  <dgm:bg>
    <a:noFill/>
  </dgm:bg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87B1B9-37FB-4C5B-91BE-56C29B9E06ED}" type="doc">
      <dgm:prSet loTypeId="urn:microsoft.com/office/officeart/2005/8/layout/lProcess2" loCatId="list" qsTypeId="urn:microsoft.com/office/officeart/2005/8/quickstyle/simple5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5E6B71F7-D3D8-406F-8D97-D823FA79B4FC}">
      <dgm:prSet phldrT="[Text]"/>
      <dgm:spPr>
        <a:effectLst>
          <a:outerShdw blurRad="50800" dist="3810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it-IT" dirty="0" smtClean="0">
              <a:latin typeface="Interstate-Light" pitchFamily="2" charset="0"/>
            </a:rPr>
            <a:t>Infrastruttura: business enabler</a:t>
          </a:r>
          <a:endParaRPr lang="it-IT" dirty="0">
            <a:latin typeface="Interstate-Light" pitchFamily="2" charset="0"/>
          </a:endParaRPr>
        </a:p>
      </dgm:t>
    </dgm:pt>
    <dgm:pt modelId="{42CE2E51-74A2-4EF6-B87B-728591499E6C}" type="parTrans" cxnId="{5FD9D2B5-10AC-4459-8D92-534BA416D91E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77DDC94D-1DDA-4FAA-BB42-45D2ADEE6560}" type="sibTrans" cxnId="{5FD9D2B5-10AC-4459-8D92-534BA416D91E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74D3EB05-9C98-4E2C-8AB8-08E1A2151157}">
      <dgm:prSet phldrT="[Text]"/>
      <dgm:spPr/>
      <dgm:t>
        <a:bodyPr/>
        <a:lstStyle/>
        <a:p>
          <a:r>
            <a:rPr lang="it-IT" dirty="0" smtClean="0">
              <a:latin typeface="Interstate-Light" pitchFamily="2" charset="0"/>
            </a:rPr>
            <a:t>Rete Broadband </a:t>
          </a:r>
          <a:r>
            <a:rPr lang="it-IT" i="1" dirty="0" smtClean="0">
              <a:latin typeface="Interstate-Light" pitchFamily="2" charset="0"/>
            </a:rPr>
            <a:t>All-IP</a:t>
          </a:r>
          <a:endParaRPr lang="it-IT" i="1" dirty="0">
            <a:latin typeface="Interstate-Light" pitchFamily="2" charset="0"/>
          </a:endParaRPr>
        </a:p>
      </dgm:t>
    </dgm:pt>
    <dgm:pt modelId="{54895B6B-8965-4DE1-859A-86A9D998E210}" type="parTrans" cxnId="{6E8FA001-8B67-48E1-8EEF-55795D8BB71C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FB6A4A80-CE2C-4210-A818-0BE829CBEFA0}" type="sibTrans" cxnId="{6E8FA001-8B67-48E1-8EEF-55795D8BB71C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A4948066-DF09-436A-AE6B-E516F65BAB73}">
      <dgm:prSet phldrT="[Text]"/>
      <dgm:spPr/>
      <dgm:t>
        <a:bodyPr/>
        <a:lstStyle/>
        <a:p>
          <a:r>
            <a:rPr lang="it-IT" dirty="0" smtClean="0">
              <a:latin typeface="Interstate-Light" pitchFamily="2" charset="0"/>
            </a:rPr>
            <a:t>Data Centre</a:t>
          </a:r>
          <a:endParaRPr lang="it-IT" dirty="0">
            <a:latin typeface="Interstate-Light" pitchFamily="2" charset="0"/>
          </a:endParaRPr>
        </a:p>
      </dgm:t>
    </dgm:pt>
    <dgm:pt modelId="{9FC3F89D-2D59-4907-BAC3-951D425D2B52}" type="parTrans" cxnId="{120C07FD-623F-4310-BD37-61B58330714D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1DDBAEDD-4995-42D2-8FF8-AB18B4589B24}" type="sibTrans" cxnId="{120C07FD-623F-4310-BD37-61B58330714D}">
      <dgm:prSet/>
      <dgm:spPr/>
      <dgm:t>
        <a:bodyPr/>
        <a:lstStyle/>
        <a:p>
          <a:endParaRPr lang="it-IT">
            <a:latin typeface="Interstate-Light" pitchFamily="2" charset="0"/>
          </a:endParaRPr>
        </a:p>
      </dgm:t>
    </dgm:pt>
    <dgm:pt modelId="{5B37870A-8E0A-40EA-97E6-09A7FF904954}" type="pres">
      <dgm:prSet presAssocID="{3787B1B9-37FB-4C5B-91BE-56C29B9E06ED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F9AE385-9996-487E-8234-20AD316C8CB3}" type="pres">
      <dgm:prSet presAssocID="{5E6B71F7-D3D8-406F-8D97-D823FA79B4FC}" presName="compNode" presStyleCnt="0"/>
      <dgm:spPr/>
      <dgm:t>
        <a:bodyPr/>
        <a:lstStyle/>
        <a:p>
          <a:endParaRPr lang="it-IT"/>
        </a:p>
      </dgm:t>
    </dgm:pt>
    <dgm:pt modelId="{BBE9B0D6-2B6F-485D-857B-62EB87C36AB2}" type="pres">
      <dgm:prSet presAssocID="{5E6B71F7-D3D8-406F-8D97-D823FA79B4FC}" presName="aNode" presStyleLbl="bgShp" presStyleIdx="0" presStyleCnt="1"/>
      <dgm:spPr/>
      <dgm:t>
        <a:bodyPr/>
        <a:lstStyle/>
        <a:p>
          <a:endParaRPr lang="it-IT"/>
        </a:p>
      </dgm:t>
    </dgm:pt>
    <dgm:pt modelId="{8CA4EB7B-5363-4E2F-8B68-C31FF2F6DDE4}" type="pres">
      <dgm:prSet presAssocID="{5E6B71F7-D3D8-406F-8D97-D823FA79B4FC}" presName="textNode" presStyleLbl="bgShp" presStyleIdx="0" presStyleCnt="1"/>
      <dgm:spPr/>
      <dgm:t>
        <a:bodyPr/>
        <a:lstStyle/>
        <a:p>
          <a:endParaRPr lang="it-IT"/>
        </a:p>
      </dgm:t>
    </dgm:pt>
    <dgm:pt modelId="{52FF9631-1518-4AF9-B61A-431D218120C7}" type="pres">
      <dgm:prSet presAssocID="{5E6B71F7-D3D8-406F-8D97-D823FA79B4FC}" presName="compChildNode" presStyleCnt="0"/>
      <dgm:spPr/>
      <dgm:t>
        <a:bodyPr/>
        <a:lstStyle/>
        <a:p>
          <a:endParaRPr lang="it-IT"/>
        </a:p>
      </dgm:t>
    </dgm:pt>
    <dgm:pt modelId="{1B129A73-76E6-4BD0-8039-317C6120F5B7}" type="pres">
      <dgm:prSet presAssocID="{5E6B71F7-D3D8-406F-8D97-D823FA79B4FC}" presName="theInnerList" presStyleCnt="0"/>
      <dgm:spPr/>
      <dgm:t>
        <a:bodyPr/>
        <a:lstStyle/>
        <a:p>
          <a:endParaRPr lang="it-IT"/>
        </a:p>
      </dgm:t>
    </dgm:pt>
    <dgm:pt modelId="{C92981AE-1027-4B4B-BFCC-6FD9B61E4EA5}" type="pres">
      <dgm:prSet presAssocID="{A4948066-DF09-436A-AE6B-E516F65BAB73}" presName="child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6FE1274-7999-4523-8D75-3F5745C6C570}" type="pres">
      <dgm:prSet presAssocID="{A4948066-DF09-436A-AE6B-E516F65BAB73}" presName="aSpace2" presStyleCnt="0"/>
      <dgm:spPr/>
      <dgm:t>
        <a:bodyPr/>
        <a:lstStyle/>
        <a:p>
          <a:endParaRPr lang="it-IT"/>
        </a:p>
      </dgm:t>
    </dgm:pt>
    <dgm:pt modelId="{52E401C4-0479-4E3E-8549-85459711B130}" type="pres">
      <dgm:prSet presAssocID="{74D3EB05-9C98-4E2C-8AB8-08E1A2151157}" presName="child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E8FA001-8B67-48E1-8EEF-55795D8BB71C}" srcId="{5E6B71F7-D3D8-406F-8D97-D823FA79B4FC}" destId="{74D3EB05-9C98-4E2C-8AB8-08E1A2151157}" srcOrd="1" destOrd="0" parTransId="{54895B6B-8965-4DE1-859A-86A9D998E210}" sibTransId="{FB6A4A80-CE2C-4210-A818-0BE829CBEFA0}"/>
    <dgm:cxn modelId="{83308E72-0540-4BB9-863F-BC32E0CB7B86}" type="presOf" srcId="{3787B1B9-37FB-4C5B-91BE-56C29B9E06ED}" destId="{5B37870A-8E0A-40EA-97E6-09A7FF904954}" srcOrd="0" destOrd="0" presId="urn:microsoft.com/office/officeart/2005/8/layout/lProcess2"/>
    <dgm:cxn modelId="{BCDF8136-0848-44D5-BCC7-4BE3EF52F4A9}" type="presOf" srcId="{5E6B71F7-D3D8-406F-8D97-D823FA79B4FC}" destId="{BBE9B0D6-2B6F-485D-857B-62EB87C36AB2}" srcOrd="0" destOrd="0" presId="urn:microsoft.com/office/officeart/2005/8/layout/lProcess2"/>
    <dgm:cxn modelId="{9DC8B731-042D-464C-95B1-B995B8B92D5F}" type="presOf" srcId="{5E6B71F7-D3D8-406F-8D97-D823FA79B4FC}" destId="{8CA4EB7B-5363-4E2F-8B68-C31FF2F6DDE4}" srcOrd="1" destOrd="0" presId="urn:microsoft.com/office/officeart/2005/8/layout/lProcess2"/>
    <dgm:cxn modelId="{5FD9D2B5-10AC-4459-8D92-534BA416D91E}" srcId="{3787B1B9-37FB-4C5B-91BE-56C29B9E06ED}" destId="{5E6B71F7-D3D8-406F-8D97-D823FA79B4FC}" srcOrd="0" destOrd="0" parTransId="{42CE2E51-74A2-4EF6-B87B-728591499E6C}" sibTransId="{77DDC94D-1DDA-4FAA-BB42-45D2ADEE6560}"/>
    <dgm:cxn modelId="{120C07FD-623F-4310-BD37-61B58330714D}" srcId="{5E6B71F7-D3D8-406F-8D97-D823FA79B4FC}" destId="{A4948066-DF09-436A-AE6B-E516F65BAB73}" srcOrd="0" destOrd="0" parTransId="{9FC3F89D-2D59-4907-BAC3-951D425D2B52}" sibTransId="{1DDBAEDD-4995-42D2-8FF8-AB18B4589B24}"/>
    <dgm:cxn modelId="{6581F14C-FB48-462D-A736-71FE6D2C3F3C}" type="presOf" srcId="{A4948066-DF09-436A-AE6B-E516F65BAB73}" destId="{C92981AE-1027-4B4B-BFCC-6FD9B61E4EA5}" srcOrd="0" destOrd="0" presId="urn:microsoft.com/office/officeart/2005/8/layout/lProcess2"/>
    <dgm:cxn modelId="{4479B8F6-001A-4DB7-B0B5-3207FEA06AC4}" type="presOf" srcId="{74D3EB05-9C98-4E2C-8AB8-08E1A2151157}" destId="{52E401C4-0479-4E3E-8549-85459711B130}" srcOrd="0" destOrd="0" presId="urn:microsoft.com/office/officeart/2005/8/layout/lProcess2"/>
    <dgm:cxn modelId="{C18D599A-E8E4-45EE-B60F-DDF0D60392FF}" type="presParOf" srcId="{5B37870A-8E0A-40EA-97E6-09A7FF904954}" destId="{6F9AE385-9996-487E-8234-20AD316C8CB3}" srcOrd="0" destOrd="0" presId="urn:microsoft.com/office/officeart/2005/8/layout/lProcess2"/>
    <dgm:cxn modelId="{F40F7EE0-08EC-40F1-A2D0-4F38D74A2FC0}" type="presParOf" srcId="{6F9AE385-9996-487E-8234-20AD316C8CB3}" destId="{BBE9B0D6-2B6F-485D-857B-62EB87C36AB2}" srcOrd="0" destOrd="0" presId="urn:microsoft.com/office/officeart/2005/8/layout/lProcess2"/>
    <dgm:cxn modelId="{0302263D-C4C2-45FF-AC39-ACF3AD1ECDB4}" type="presParOf" srcId="{6F9AE385-9996-487E-8234-20AD316C8CB3}" destId="{8CA4EB7B-5363-4E2F-8B68-C31FF2F6DDE4}" srcOrd="1" destOrd="0" presId="urn:microsoft.com/office/officeart/2005/8/layout/lProcess2"/>
    <dgm:cxn modelId="{0A1BD184-27B7-4AF5-A276-F123F5F54865}" type="presParOf" srcId="{6F9AE385-9996-487E-8234-20AD316C8CB3}" destId="{52FF9631-1518-4AF9-B61A-431D218120C7}" srcOrd="2" destOrd="0" presId="urn:microsoft.com/office/officeart/2005/8/layout/lProcess2"/>
    <dgm:cxn modelId="{1E3C4C0C-E004-4EE4-B99C-DA62466BC07E}" type="presParOf" srcId="{52FF9631-1518-4AF9-B61A-431D218120C7}" destId="{1B129A73-76E6-4BD0-8039-317C6120F5B7}" srcOrd="0" destOrd="0" presId="urn:microsoft.com/office/officeart/2005/8/layout/lProcess2"/>
    <dgm:cxn modelId="{DD05BBBE-505C-4292-8156-F1BC965B2896}" type="presParOf" srcId="{1B129A73-76E6-4BD0-8039-317C6120F5B7}" destId="{C92981AE-1027-4B4B-BFCC-6FD9B61E4EA5}" srcOrd="0" destOrd="0" presId="urn:microsoft.com/office/officeart/2005/8/layout/lProcess2"/>
    <dgm:cxn modelId="{47BB429F-8AEC-4004-B122-5A974F96182D}" type="presParOf" srcId="{1B129A73-76E6-4BD0-8039-317C6120F5B7}" destId="{96FE1274-7999-4523-8D75-3F5745C6C570}" srcOrd="1" destOrd="0" presId="urn:microsoft.com/office/officeart/2005/8/layout/lProcess2"/>
    <dgm:cxn modelId="{D6118E42-1F24-49AB-9882-1786AF1110DD}" type="presParOf" srcId="{1B129A73-76E6-4BD0-8039-317C6120F5B7}" destId="{52E401C4-0479-4E3E-8549-85459711B130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xmlns="" relId="rId2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BE9B0D6-2B6F-485D-857B-62EB87C36AB2}">
      <dsp:nvSpPr>
        <dsp:cNvPr id="0" name=""/>
        <dsp:cNvSpPr/>
      </dsp:nvSpPr>
      <dsp:spPr>
        <a:xfrm>
          <a:off x="0" y="0"/>
          <a:ext cx="2790618" cy="3870934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>
              <a:solidFill>
                <a:schemeClr val="tx1"/>
              </a:solidFill>
              <a:latin typeface="Interstate-Light" pitchFamily="2" charset="0"/>
            </a:rPr>
            <a:t>Infrastruttura: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>
              <a:solidFill>
                <a:schemeClr val="tx1"/>
              </a:solidFill>
              <a:latin typeface="Interstate-Light" pitchFamily="2" charset="0"/>
            </a:rPr>
            <a:t>business enabler</a:t>
          </a:r>
          <a:endParaRPr lang="it-IT" sz="2400" kern="1200" dirty="0">
            <a:solidFill>
              <a:schemeClr val="tx1"/>
            </a:solidFill>
            <a:latin typeface="Interstate-Light" pitchFamily="2" charset="0"/>
          </a:endParaRPr>
        </a:p>
      </dsp:txBody>
      <dsp:txXfrm>
        <a:off x="0" y="0"/>
        <a:ext cx="2790618" cy="1161280"/>
      </dsp:txXfrm>
    </dsp:sp>
    <dsp:sp modelId="{C92981AE-1027-4B4B-BFCC-6FD9B61E4EA5}">
      <dsp:nvSpPr>
        <dsp:cNvPr id="0" name=""/>
        <dsp:cNvSpPr/>
      </dsp:nvSpPr>
      <dsp:spPr>
        <a:xfrm>
          <a:off x="279061" y="1161374"/>
          <a:ext cx="2232494" cy="56391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chemeClr val="tx1"/>
              </a:solidFill>
              <a:latin typeface="Interstate-Light" pitchFamily="2" charset="0"/>
            </a:rPr>
            <a:t>Piattaforme di Servizio Aperte</a:t>
          </a:r>
          <a:endParaRPr lang="it-IT" sz="1800" kern="1200" dirty="0">
            <a:solidFill>
              <a:schemeClr val="tx1"/>
            </a:solidFill>
            <a:latin typeface="Interstate-Light" pitchFamily="2" charset="0"/>
          </a:endParaRPr>
        </a:p>
      </dsp:txBody>
      <dsp:txXfrm>
        <a:off x="279061" y="1161374"/>
        <a:ext cx="2232494" cy="563912"/>
      </dsp:txXfrm>
    </dsp:sp>
    <dsp:sp modelId="{C05E048B-848F-450F-8881-ACBC5A0C7740}">
      <dsp:nvSpPr>
        <dsp:cNvPr id="0" name=""/>
        <dsp:cNvSpPr/>
      </dsp:nvSpPr>
      <dsp:spPr>
        <a:xfrm>
          <a:off x="279061" y="1812043"/>
          <a:ext cx="2232494" cy="56391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1003625"/>
                <a:satOff val="5210"/>
                <a:lumOff val="3791"/>
                <a:alphaOff val="0"/>
                <a:shade val="51000"/>
                <a:satMod val="130000"/>
              </a:schemeClr>
            </a:gs>
            <a:gs pos="80000">
              <a:schemeClr val="accent5">
                <a:hueOff val="-1003625"/>
                <a:satOff val="5210"/>
                <a:lumOff val="3791"/>
                <a:alphaOff val="0"/>
                <a:shade val="93000"/>
                <a:satMod val="130000"/>
              </a:schemeClr>
            </a:gs>
            <a:gs pos="100000">
              <a:schemeClr val="accent5">
                <a:hueOff val="-1003625"/>
                <a:satOff val="5210"/>
                <a:lumOff val="379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chemeClr val="tx1"/>
              </a:solidFill>
              <a:latin typeface="Interstate-Light" pitchFamily="2" charset="0"/>
            </a:rPr>
            <a:t>Servizi Full-IP</a:t>
          </a:r>
          <a:endParaRPr lang="it-IT" sz="1800" kern="1200" dirty="0">
            <a:solidFill>
              <a:schemeClr val="tx1"/>
            </a:solidFill>
            <a:latin typeface="Interstate-Light" pitchFamily="2" charset="0"/>
          </a:endParaRPr>
        </a:p>
      </dsp:txBody>
      <dsp:txXfrm>
        <a:off x="279061" y="1812043"/>
        <a:ext cx="2232494" cy="563912"/>
      </dsp:txXfrm>
    </dsp:sp>
    <dsp:sp modelId="{D6F819C1-C490-434B-8713-A90C0DC3E667}">
      <dsp:nvSpPr>
        <dsp:cNvPr id="0" name=""/>
        <dsp:cNvSpPr/>
      </dsp:nvSpPr>
      <dsp:spPr>
        <a:xfrm>
          <a:off x="279061" y="2462711"/>
          <a:ext cx="2232494" cy="56391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2007249"/>
                <a:satOff val="10421"/>
                <a:lumOff val="7581"/>
                <a:alphaOff val="0"/>
                <a:shade val="51000"/>
                <a:satMod val="130000"/>
              </a:schemeClr>
            </a:gs>
            <a:gs pos="80000">
              <a:schemeClr val="accent5">
                <a:hueOff val="-2007249"/>
                <a:satOff val="10421"/>
                <a:lumOff val="7581"/>
                <a:alphaOff val="0"/>
                <a:shade val="93000"/>
                <a:satMod val="130000"/>
              </a:schemeClr>
            </a:gs>
            <a:gs pos="100000">
              <a:schemeClr val="accent5">
                <a:hueOff val="-2007249"/>
                <a:satOff val="10421"/>
                <a:lumOff val="7581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chemeClr val="tx1"/>
              </a:solidFill>
              <a:latin typeface="Interstate-Light" pitchFamily="2" charset="0"/>
            </a:rPr>
            <a:t>Rete fissa/mobile</a:t>
          </a:r>
          <a:endParaRPr lang="it-IT" sz="1800" kern="1200" dirty="0">
            <a:solidFill>
              <a:schemeClr val="tx1"/>
            </a:solidFill>
            <a:latin typeface="Interstate-Light" pitchFamily="2" charset="0"/>
          </a:endParaRPr>
        </a:p>
      </dsp:txBody>
      <dsp:txXfrm>
        <a:off x="279061" y="2462711"/>
        <a:ext cx="2232494" cy="563912"/>
      </dsp:txXfrm>
    </dsp:sp>
    <dsp:sp modelId="{AD3131A6-C42E-4707-A14C-D660DA040418}">
      <dsp:nvSpPr>
        <dsp:cNvPr id="0" name=""/>
        <dsp:cNvSpPr/>
      </dsp:nvSpPr>
      <dsp:spPr>
        <a:xfrm>
          <a:off x="279061" y="3113380"/>
          <a:ext cx="2232494" cy="56391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3010874"/>
                <a:satOff val="15631"/>
                <a:lumOff val="11372"/>
                <a:alphaOff val="0"/>
                <a:shade val="51000"/>
                <a:satMod val="130000"/>
              </a:schemeClr>
            </a:gs>
            <a:gs pos="80000">
              <a:schemeClr val="accent5">
                <a:hueOff val="-3010874"/>
                <a:satOff val="15631"/>
                <a:lumOff val="11372"/>
                <a:alphaOff val="0"/>
                <a:shade val="93000"/>
                <a:satMod val="130000"/>
              </a:schemeClr>
            </a:gs>
            <a:gs pos="100000">
              <a:schemeClr val="accent5">
                <a:hueOff val="-3010874"/>
                <a:satOff val="15631"/>
                <a:lumOff val="1137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chemeClr val="tx1"/>
              </a:solidFill>
              <a:latin typeface="Interstate-Light" pitchFamily="2" charset="0"/>
            </a:rPr>
            <a:t>Backbone Ottico ad Alta Capacità</a:t>
          </a:r>
          <a:endParaRPr lang="it-IT" sz="1800" kern="1200" dirty="0">
            <a:solidFill>
              <a:schemeClr val="tx1"/>
            </a:solidFill>
            <a:latin typeface="Interstate-Light" pitchFamily="2" charset="0"/>
          </a:endParaRPr>
        </a:p>
      </dsp:txBody>
      <dsp:txXfrm>
        <a:off x="279061" y="3113380"/>
        <a:ext cx="2232494" cy="563912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177B84A-656C-48B6-A43D-B8B5443A0660}">
      <dsp:nvSpPr>
        <dsp:cNvPr id="0" name=""/>
        <dsp:cNvSpPr/>
      </dsp:nvSpPr>
      <dsp:spPr>
        <a:xfrm>
          <a:off x="-4856" y="8966"/>
          <a:ext cx="1586247" cy="1484551"/>
        </a:xfrm>
        <a:prstGeom prst="upArrow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50800" dist="38100" dir="8100000" sx="104000" sy="104000" algn="tr" rotWithShape="0">
            <a:prstClr val="black">
              <a:alpha val="40000"/>
            </a:prst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3BFAB09-3121-44D0-8224-827424D4E2FA}">
      <dsp:nvSpPr>
        <dsp:cNvPr id="0" name=""/>
        <dsp:cNvSpPr/>
      </dsp:nvSpPr>
      <dsp:spPr>
        <a:xfrm>
          <a:off x="997798" y="0"/>
          <a:ext cx="1305261" cy="1484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2280" tIns="0" rIns="462280" bIns="462280" numCol="1" spcCol="1270" anchor="ctr" anchorCtr="0">
          <a:noAutofit/>
          <a:sp3d extrusionH="28000" prstMaterial="matte"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6500" kern="1200" dirty="0" smtClean="0"/>
            <a:t>   </a:t>
          </a:r>
          <a:endParaRPr lang="it-IT" sz="6500" kern="1200" dirty="0"/>
        </a:p>
      </dsp:txBody>
      <dsp:txXfrm>
        <a:off x="997798" y="0"/>
        <a:ext cx="1305261" cy="1484551"/>
      </dsp:txXfrm>
    </dsp:sp>
    <dsp:sp modelId="{C3E37E54-3F0F-4700-9DE5-9351C566F99E}">
      <dsp:nvSpPr>
        <dsp:cNvPr id="0" name=""/>
        <dsp:cNvSpPr/>
      </dsp:nvSpPr>
      <dsp:spPr>
        <a:xfrm>
          <a:off x="652624" y="1536545"/>
          <a:ext cx="1586247" cy="1484551"/>
        </a:xfrm>
        <a:prstGeom prst="downArrow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50800" dist="38100" dir="8100000" sx="104000" sy="104000" algn="tr" rotWithShape="0">
            <a:prstClr val="black">
              <a:alpha val="40000"/>
            </a:prstClr>
          </a:outerShdw>
        </a:effectLst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827F46D-9476-4771-9FCD-32DDC650446A}">
      <dsp:nvSpPr>
        <dsp:cNvPr id="0" name=""/>
        <dsp:cNvSpPr/>
      </dsp:nvSpPr>
      <dsp:spPr>
        <a:xfrm>
          <a:off x="1228549" y="1608263"/>
          <a:ext cx="1305261" cy="14845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62280" tIns="0" rIns="462280" bIns="462280" numCol="1" spcCol="1270" anchor="ctr" anchorCtr="0">
          <a:noAutofit/>
          <a:sp3d extrusionH="28000" prstMaterial="matte"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6500" kern="1200" dirty="0" smtClean="0"/>
            <a:t>  </a:t>
          </a:r>
          <a:endParaRPr lang="it-IT" sz="6500" kern="1200" dirty="0"/>
        </a:p>
      </dsp:txBody>
      <dsp:txXfrm>
        <a:off x="1228549" y="1608263"/>
        <a:ext cx="1305261" cy="148455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BE9B0D6-2B6F-485D-857B-62EB87C36AB2}">
      <dsp:nvSpPr>
        <dsp:cNvPr id="0" name=""/>
        <dsp:cNvSpPr/>
      </dsp:nvSpPr>
      <dsp:spPr>
        <a:xfrm>
          <a:off x="0" y="0"/>
          <a:ext cx="3638550" cy="1228725"/>
        </a:xfrm>
        <a:prstGeom prst="roundRect">
          <a:avLst>
            <a:gd name="adj" fmla="val 10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latin typeface="Interstate-Light" pitchFamily="2" charset="0"/>
            </a:rPr>
            <a:t>Infrastruttura: business enabler</a:t>
          </a:r>
          <a:endParaRPr lang="it-IT" sz="1800" kern="1200" dirty="0">
            <a:latin typeface="Interstate-Light" pitchFamily="2" charset="0"/>
          </a:endParaRPr>
        </a:p>
      </dsp:txBody>
      <dsp:txXfrm>
        <a:off x="0" y="0"/>
        <a:ext cx="3638550" cy="368617"/>
      </dsp:txXfrm>
    </dsp:sp>
    <dsp:sp modelId="{C92981AE-1027-4B4B-BFCC-6FD9B61E4EA5}">
      <dsp:nvSpPr>
        <dsp:cNvPr id="0" name=""/>
        <dsp:cNvSpPr/>
      </dsp:nvSpPr>
      <dsp:spPr>
        <a:xfrm>
          <a:off x="363854" y="368977"/>
          <a:ext cx="2910840" cy="3704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40005" rIns="53340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100" kern="1200" dirty="0" smtClean="0">
              <a:latin typeface="Interstate-Light" pitchFamily="2" charset="0"/>
            </a:rPr>
            <a:t>Data Centre</a:t>
          </a:r>
          <a:endParaRPr lang="it-IT" sz="2100" kern="1200" dirty="0">
            <a:latin typeface="Interstate-Light" pitchFamily="2" charset="0"/>
          </a:endParaRPr>
        </a:p>
      </dsp:txBody>
      <dsp:txXfrm>
        <a:off x="363854" y="368977"/>
        <a:ext cx="2910840" cy="370477"/>
      </dsp:txXfrm>
    </dsp:sp>
    <dsp:sp modelId="{52E401C4-0479-4E3E-8549-85459711B130}">
      <dsp:nvSpPr>
        <dsp:cNvPr id="0" name=""/>
        <dsp:cNvSpPr/>
      </dsp:nvSpPr>
      <dsp:spPr>
        <a:xfrm>
          <a:off x="363854" y="796451"/>
          <a:ext cx="2910840" cy="37047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-3010874"/>
                <a:satOff val="15631"/>
                <a:lumOff val="11372"/>
                <a:alphaOff val="0"/>
                <a:shade val="51000"/>
                <a:satMod val="130000"/>
              </a:schemeClr>
            </a:gs>
            <a:gs pos="80000">
              <a:schemeClr val="accent5">
                <a:hueOff val="-3010874"/>
                <a:satOff val="15631"/>
                <a:lumOff val="11372"/>
                <a:alphaOff val="0"/>
                <a:shade val="93000"/>
                <a:satMod val="130000"/>
              </a:schemeClr>
            </a:gs>
            <a:gs pos="100000">
              <a:schemeClr val="accent5">
                <a:hueOff val="-3010874"/>
                <a:satOff val="15631"/>
                <a:lumOff val="1137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40005" rIns="53340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100" kern="1200" dirty="0" smtClean="0">
              <a:latin typeface="Interstate-Light" pitchFamily="2" charset="0"/>
            </a:rPr>
            <a:t>Rete Broadband </a:t>
          </a:r>
          <a:r>
            <a:rPr lang="it-IT" sz="2100" i="1" kern="1200" dirty="0" smtClean="0">
              <a:latin typeface="Interstate-Light" pitchFamily="2" charset="0"/>
            </a:rPr>
            <a:t>All-IP</a:t>
          </a:r>
          <a:endParaRPr lang="it-IT" sz="2100" i="1" kern="1200" dirty="0">
            <a:latin typeface="Interstate-Light" pitchFamily="2" charset="0"/>
          </a:endParaRPr>
        </a:p>
      </dsp:txBody>
      <dsp:txXfrm>
        <a:off x="363854" y="796451"/>
        <a:ext cx="2910840" cy="3704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4">
  <dgm:title val=""/>
  <dgm:desc val=""/>
  <dgm:catLst>
    <dgm:cat type="relationship" pri="8000"/>
    <dgm:cat type="process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b" for="ch" forName="upArrowText" refType="h" fact="0.48"/>
              <dgm:constr type="l" for="ch" forName="upArrowText" refType="w" refFor="ch" refForName="upArrow" fact="1.03"/>
            </dgm:constrLst>
          </dgm:if>
          <dgm:else name="Name4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b" for="ch" forName="upArrowText" refType="h" fact="0.48"/>
              <dgm:constr type="l" for="ch" forName="upArrowText" refType="w" refFor="ch" refForName="upArrow" fact="1.03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refFor="ch" refForName="downArrow" fact="0.3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 refType="w" refFor="ch" refForName="downArrow" fact="1.33"/>
            </dgm:constrLst>
          </dgm:else>
        </dgm:choose>
      </dgm:if>
      <dgm:else name="Name5">
        <dgm:choose name="Name6">
          <dgm:if name="Name7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t" for="ch" forName="upArrowText"/>
              <dgm:constr type="l" for="ch" forName="upArrowText" refType="w" fact="0.1"/>
            </dgm:constrLst>
          </dgm:if>
          <dgm:else name="Name8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t" for="ch" forName="upArrowText"/>
              <dgm:constr type="l" for="ch" forName="upArrowText" refType="w" fact="0.1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fact="0.57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/>
            </dgm:constrLst>
          </dgm:else>
        </dgm:choose>
      </dgm:else>
    </dgm:choose>
    <dgm:ruleLst/>
    <dgm:forEach name="Name9" axis="ch" ptType="node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chMax val="0"/>
          <dgm:bulletEnabled val="1"/>
        </dgm:varLst>
        <dgm:choose name="Name10">
          <dgm:if name="Name1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2">
            <dgm:choose name="Name13">
              <dgm:if name="Name14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15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  <dgm:forEach name="Name16" axis="ch" ptType="node" st="2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chMax val="0"/>
          <dgm:bulletEnabled val="1"/>
        </dgm:varLst>
        <dgm:choose name="Name17">
          <dgm:if name="Name18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9">
            <dgm:choose name="Name20">
              <dgm:if name="Name21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22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F185E7-1117-46D5-BA65-C7836067D922}" type="datetimeFigureOut">
              <a:rPr lang="en-US" smtClean="0"/>
              <a:pPr/>
              <a:t>3/24/201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CF914E-62B6-4321-ADAE-1600A18963E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23A930ED-E3AC-416F-B704-27C5DF313A6B}" type="datetimeFigureOut">
              <a:rPr lang="it-IT"/>
              <a:pPr>
                <a:defRPr/>
              </a:pPr>
              <a:t>24/03/2010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it-IT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D6B985E5-3CA1-4C79-B075-FE40BAC5D238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B220F3C-2791-4546-AA47-657FD2A69E36}" type="slidenum">
              <a:rPr lang="it-IT"/>
              <a:pPr/>
              <a:t>1</a:t>
            </a:fld>
            <a:endParaRPr lang="it-IT"/>
          </a:p>
        </p:txBody>
      </p:sp>
      <p:sp>
        <p:nvSpPr>
          <p:cNvPr id="1035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5675" y="655638"/>
            <a:ext cx="4948238" cy="3427412"/>
          </a:xfrm>
          <a:ln/>
        </p:spPr>
      </p:sp>
      <p:sp>
        <p:nvSpPr>
          <p:cNvPr id="1035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992" y="4375561"/>
            <a:ext cx="5030017" cy="4083383"/>
          </a:xfrm>
        </p:spPr>
        <p:txBody>
          <a:bodyPr/>
          <a:lstStyle/>
          <a:p>
            <a:endParaRPr lang="it-IT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B4C895-9B28-4993-90FC-2D2571707112}" type="slidenum">
              <a:rPr lang="en-US" smtClean="0">
                <a:latin typeface="Times New Roman" pitchFamily="18" charset="0"/>
                <a:ea typeface="ＭＳ Ｐゴシック" charset="-128"/>
              </a:rPr>
              <a:pPr/>
              <a:t>2</a:t>
            </a:fld>
            <a:endParaRPr lang="en-US" smtClean="0"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it-IT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AA4599-CAA6-41EA-B21C-17D727898CD4}" type="slidenum">
              <a:rPr lang="en-US" smtClean="0">
                <a:latin typeface="Times New Roman" pitchFamily="18" charset="0"/>
                <a:ea typeface="ＭＳ Ｐゴシック" charset="-128"/>
              </a:rPr>
              <a:pPr/>
              <a:t>3</a:t>
            </a:fld>
            <a:endParaRPr lang="en-US" smtClean="0">
              <a:latin typeface="Times New Roman" pitchFamily="18" charset="0"/>
              <a:ea typeface="ＭＳ Ｐゴシック" charset="-128"/>
            </a:endParaRPr>
          </a:p>
        </p:txBody>
      </p:sp>
      <p:sp>
        <p:nvSpPr>
          <p:cNvPr id="23554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4088" y="687388"/>
            <a:ext cx="4949825" cy="3427412"/>
          </a:xfrm>
          <a:ln/>
        </p:spPr>
      </p:sp>
      <p:sp>
        <p:nvSpPr>
          <p:cNvPr id="23555" name="Rectangle 1027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3213"/>
          </a:xfrm>
          <a:noFill/>
          <a:ln/>
        </p:spPr>
        <p:txBody>
          <a:bodyPr lIns="92285" tIns="46142" rIns="92285" bIns="46142"/>
          <a:lstStyle/>
          <a:p>
            <a:pPr eaLnBrk="1" hangingPunct="1">
              <a:spcBef>
                <a:spcPct val="0"/>
              </a:spcBef>
              <a:buClr>
                <a:schemeClr val="tx1"/>
              </a:buClr>
              <a:buFont typeface="Wingdings" pitchFamily="2" charset="2"/>
              <a:buChar char="Ø"/>
            </a:pPr>
            <a:endParaRPr lang="en-US" smtClean="0">
              <a:latin typeface="Times New Roman" pitchFamily="18" charset="0"/>
            </a:endParaRPr>
          </a:p>
          <a:p>
            <a:pPr eaLnBrk="1" hangingPunct="1"/>
            <a:r>
              <a:rPr lang="en-US" smtClean="0">
                <a:latin typeface="Times New Roman" pitchFamily="18" charset="0"/>
              </a:rPr>
              <a:t>In this Basic IP Service Model,  SP run the risk of being locked out or left behind due to inability to realize new service, partner or market opportunities, quickly and cost-effectively enough to engage customers.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8902337-DB38-46BF-A12E-3197389B2ED5}" type="slidenum">
              <a:rPr lang="it-IT"/>
              <a:pPr/>
              <a:t>7</a:t>
            </a:fld>
            <a:endParaRPr lang="it-IT"/>
          </a:p>
        </p:txBody>
      </p:sp>
      <p:sp>
        <p:nvSpPr>
          <p:cNvPr id="9850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5675" y="655638"/>
            <a:ext cx="4949825" cy="3427412"/>
          </a:xfrm>
          <a:ln/>
        </p:spPr>
      </p:sp>
      <p:sp>
        <p:nvSpPr>
          <p:cNvPr id="9850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992" y="4375561"/>
            <a:ext cx="5030017" cy="4083383"/>
          </a:xfrm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52500" y="685800"/>
            <a:ext cx="4953000" cy="3429000"/>
          </a:xfrm>
          <a:ln/>
        </p:spPr>
      </p:sp>
      <p:sp>
        <p:nvSpPr>
          <p:cNvPr id="11673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Times New Roman" pitchFamily="18" charset="0"/>
            </a:endParaRPr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A2C57FF-1332-418D-A87C-ABBE11520303}" type="slidenum">
              <a:rPr lang="he-IL" smtClean="0"/>
              <a:pPr>
                <a:defRPr/>
              </a:pPr>
              <a:t>9</a:t>
            </a:fld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2DE4B8-6F90-4CC9-8427-2EB73F13D29F}" type="slidenum">
              <a:rPr lang="it-IT" smtClean="0"/>
              <a:pPr/>
              <a:t>12</a:t>
            </a:fld>
            <a:endParaRPr lang="it-IT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Fondo01cop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42950" y="1052514"/>
            <a:ext cx="8420100" cy="1152525"/>
          </a:xfrm>
        </p:spPr>
        <p:txBody>
          <a:bodyPr/>
          <a:lstStyle>
            <a:lvl1pPr algn="ctr"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741232" y="2349500"/>
            <a:ext cx="8346148" cy="2159000"/>
          </a:xfrm>
        </p:spPr>
        <p:txBody>
          <a:bodyPr/>
          <a:lstStyle>
            <a:lvl1pPr marL="0" indent="0" algn="ctr">
              <a:defRPr sz="4000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F0F6BD-E893-4BDF-AE85-5DBBFE74F6DE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93F1A5-E3A4-426B-8F37-423AD5FE9AD1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4594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21450" cy="54594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ADD9A8-0C57-4791-A98C-CB61B31F0810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92233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95300" y="1600200"/>
            <a:ext cx="8915400" cy="4133850"/>
          </a:xfrm>
        </p:spPr>
        <p:txBody>
          <a:bodyPr/>
          <a:lstStyle/>
          <a:p>
            <a:pPr lvl="0"/>
            <a:endParaRPr lang="it-IT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857391-39BA-4B92-BEE7-D5F270F35DBD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‹#›</a:t>
            </a:fld>
            <a:endParaRPr lang="it-IT" sz="1400">
              <a:latin typeface="Times New Roman" charset="0"/>
            </a:endParaRPr>
          </a:p>
        </p:txBody>
      </p:sp>
      <p:sp>
        <p:nvSpPr>
          <p:cNvPr id="4" name="Picture Placeholder 2"/>
          <p:cNvSpPr>
            <a:spLocks noGrp="1"/>
          </p:cNvSpPr>
          <p:nvPr>
            <p:ph type="pic" idx="1"/>
          </p:nvPr>
        </p:nvSpPr>
        <p:spPr>
          <a:xfrm>
            <a:off x="316800" y="1061544"/>
            <a:ext cx="9297100" cy="48693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Interstate-Light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anchor="t" anchorCtr="0"/>
          <a:lstStyle>
            <a:lvl1pPr algn="l">
              <a:defRPr>
                <a:latin typeface="Interstate-Light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33F3EA-FC96-4151-A5B9-90E4D3D8A083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618051-3645-4D92-AB4C-BDB94E120E7C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75150" cy="4133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0"/>
            <a:ext cx="4375150" cy="4133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1D034B-C481-4A2F-9D27-919E2A78BCD3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E66517-103F-4F7E-92D7-4DC9B73B123A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3AF6D5-B57F-4D27-A7CF-8932C04CEC46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5B7726-58C9-4BC9-8B3B-6B1EDA4967C6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3F4222-BE08-4FFA-896F-4CB7C15AD0FE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51F8D4-D0D5-47F4-902E-D4C2BD16D4D9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7" descr="Fondo01int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74639"/>
            <a:ext cx="8915400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lo stile del titolo</a:t>
            </a:r>
          </a:p>
        </p:txBody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13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453189"/>
            <a:ext cx="2311400" cy="26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Interstate" pitchFamily="2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191250" y="6381751"/>
            <a:ext cx="2350956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Interstate" pitchFamily="2" charset="0"/>
                <a:cs typeface="+mn-cs"/>
              </a:defRPr>
            </a:lvl1pPr>
          </a:lstStyle>
          <a:p>
            <a:pPr>
              <a:defRPr/>
            </a:pPr>
            <a:fld id="{E39C0E8F-7FFE-4A38-A660-4903A0F315CD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2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-Light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FDCD03"/>
          </a:solidFill>
          <a:latin typeface="InterstateLight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3200">
          <a:solidFill>
            <a:schemeClr val="tx1"/>
          </a:solidFill>
          <a:latin typeface="Interstate-Light" pitchFamily="2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bg2"/>
          </a:solidFill>
          <a:latin typeface="Interstate-Light" pitchFamily="2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pitchFamily="34" charset="0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jpeg"/><Relationship Id="rId13" Type="http://schemas.openxmlformats.org/officeDocument/2006/relationships/image" Target="../media/image121.jpeg"/><Relationship Id="rId3" Type="http://schemas.openxmlformats.org/officeDocument/2006/relationships/image" Target="../media/image111.jpeg"/><Relationship Id="rId7" Type="http://schemas.openxmlformats.org/officeDocument/2006/relationships/image" Target="../media/image115.jpeg"/><Relationship Id="rId12" Type="http://schemas.openxmlformats.org/officeDocument/2006/relationships/image" Target="../media/image120.jpe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4.jpeg"/><Relationship Id="rId11" Type="http://schemas.openxmlformats.org/officeDocument/2006/relationships/image" Target="../media/image119.jpeg"/><Relationship Id="rId5" Type="http://schemas.openxmlformats.org/officeDocument/2006/relationships/image" Target="../media/image113.png"/><Relationship Id="rId15" Type="http://schemas.openxmlformats.org/officeDocument/2006/relationships/image" Target="../media/image122.png"/><Relationship Id="rId10" Type="http://schemas.openxmlformats.org/officeDocument/2006/relationships/image" Target="../media/image118.jpeg"/><Relationship Id="rId4" Type="http://schemas.openxmlformats.org/officeDocument/2006/relationships/image" Target="../media/image112.jpeg"/><Relationship Id="rId9" Type="http://schemas.openxmlformats.org/officeDocument/2006/relationships/image" Target="../media/image117.jpeg"/><Relationship Id="rId14" Type="http://schemas.openxmlformats.org/officeDocument/2006/relationships/image" Target="../media/image8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jpeg"/><Relationship Id="rId3" Type="http://schemas.openxmlformats.org/officeDocument/2006/relationships/image" Target="../media/image124.jpeg"/><Relationship Id="rId7" Type="http://schemas.openxmlformats.org/officeDocument/2006/relationships/image" Target="../media/image128.jpeg"/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7.jpeg"/><Relationship Id="rId5" Type="http://schemas.openxmlformats.org/officeDocument/2006/relationships/image" Target="../media/image126.jpeg"/><Relationship Id="rId4" Type="http://schemas.openxmlformats.org/officeDocument/2006/relationships/image" Target="../media/image125.jpeg"/><Relationship Id="rId9" Type="http://schemas.openxmlformats.org/officeDocument/2006/relationships/image" Target="../media/image13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134.jpeg"/><Relationship Id="rId26" Type="http://schemas.openxmlformats.org/officeDocument/2006/relationships/image" Target="../media/image136.png"/><Relationship Id="rId3" Type="http://schemas.openxmlformats.org/officeDocument/2006/relationships/image" Target="../media/image131.jpeg"/><Relationship Id="rId21" Type="http://schemas.openxmlformats.org/officeDocument/2006/relationships/diagramData" Target="../diagrams/data3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133.jpeg"/><Relationship Id="rId25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62.png"/><Relationship Id="rId20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24" Type="http://schemas.openxmlformats.org/officeDocument/2006/relationships/diagramColors" Target="../diagrams/colors3.xml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diagramQuickStyle" Target="../diagrams/quickStyle3.xml"/><Relationship Id="rId10" Type="http://schemas.openxmlformats.org/officeDocument/2006/relationships/image" Target="../media/image55.png"/><Relationship Id="rId19" Type="http://schemas.openxmlformats.org/officeDocument/2006/relationships/image" Target="../media/image135.jpeg"/><Relationship Id="rId4" Type="http://schemas.openxmlformats.org/officeDocument/2006/relationships/image" Target="../media/image132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Relationship Id="rId22" Type="http://schemas.openxmlformats.org/officeDocument/2006/relationships/diagramLayout" Target="../diagrams/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jpeg"/><Relationship Id="rId2" Type="http://schemas.openxmlformats.org/officeDocument/2006/relationships/image" Target="../media/image137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9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gi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7.png"/><Relationship Id="rId26" Type="http://schemas.openxmlformats.org/officeDocument/2006/relationships/image" Target="../media/image14.png"/><Relationship Id="rId3" Type="http://schemas.openxmlformats.org/officeDocument/2006/relationships/tags" Target="../tags/tag3.xml"/><Relationship Id="rId21" Type="http://schemas.openxmlformats.org/officeDocument/2006/relationships/image" Target="../media/image9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6.png"/><Relationship Id="rId25" Type="http://schemas.openxmlformats.org/officeDocument/2006/relationships/image" Target="../media/image13.png"/><Relationship Id="rId2" Type="http://schemas.openxmlformats.org/officeDocument/2006/relationships/tags" Target="../tags/tag2.xml"/><Relationship Id="rId16" Type="http://schemas.openxmlformats.org/officeDocument/2006/relationships/image" Target="../media/image5.png"/><Relationship Id="rId20" Type="http://schemas.openxmlformats.org/officeDocument/2006/relationships/hyperlink" Target="http://en.wikipedia.org/wiki/Image:Joostlogo.gif" TargetMode="External"/><Relationship Id="rId29" Type="http://schemas.openxmlformats.org/officeDocument/2006/relationships/image" Target="../media/image1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2.png"/><Relationship Id="rId5" Type="http://schemas.openxmlformats.org/officeDocument/2006/relationships/tags" Target="../tags/tag5.xml"/><Relationship Id="rId15" Type="http://schemas.openxmlformats.org/officeDocument/2006/relationships/image" Target="../media/image4.jpeg"/><Relationship Id="rId23" Type="http://schemas.openxmlformats.org/officeDocument/2006/relationships/image" Target="../media/image11.png"/><Relationship Id="rId28" Type="http://schemas.openxmlformats.org/officeDocument/2006/relationships/image" Target="../media/image16.png"/><Relationship Id="rId10" Type="http://schemas.openxmlformats.org/officeDocument/2006/relationships/tags" Target="../tags/tag10.xml"/><Relationship Id="rId19" Type="http://schemas.openxmlformats.org/officeDocument/2006/relationships/image" Target="../media/image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2.xml"/><Relationship Id="rId22" Type="http://schemas.openxmlformats.org/officeDocument/2006/relationships/image" Target="../media/image10.png"/><Relationship Id="rId27" Type="http://schemas.openxmlformats.org/officeDocument/2006/relationships/image" Target="../media/image15.jpeg"/><Relationship Id="rId30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5.png"/><Relationship Id="rId18" Type="http://schemas.openxmlformats.org/officeDocument/2006/relationships/image" Target="../media/image39.png"/><Relationship Id="rId26" Type="http://schemas.openxmlformats.org/officeDocument/2006/relationships/image" Target="../media/image45.png"/><Relationship Id="rId39" Type="http://schemas.openxmlformats.org/officeDocument/2006/relationships/image" Target="../media/image58.png"/><Relationship Id="rId3" Type="http://schemas.openxmlformats.org/officeDocument/2006/relationships/image" Target="../media/image26.png"/><Relationship Id="rId21" Type="http://schemas.openxmlformats.org/officeDocument/2006/relationships/image" Target="../media/image14.png"/><Relationship Id="rId34" Type="http://schemas.openxmlformats.org/officeDocument/2006/relationships/image" Target="../media/image53.png"/><Relationship Id="rId42" Type="http://schemas.openxmlformats.org/officeDocument/2006/relationships/image" Target="../media/image61.png"/><Relationship Id="rId47" Type="http://schemas.openxmlformats.org/officeDocument/2006/relationships/image" Target="../media/image66.jpeg"/><Relationship Id="rId7" Type="http://schemas.openxmlformats.org/officeDocument/2006/relationships/image" Target="../media/image30.png"/><Relationship Id="rId12" Type="http://schemas.openxmlformats.org/officeDocument/2006/relationships/image" Target="../media/image34.png"/><Relationship Id="rId17" Type="http://schemas.openxmlformats.org/officeDocument/2006/relationships/image" Target="../media/image7.png"/><Relationship Id="rId25" Type="http://schemas.openxmlformats.org/officeDocument/2006/relationships/image" Target="../media/image44.png"/><Relationship Id="rId33" Type="http://schemas.openxmlformats.org/officeDocument/2006/relationships/image" Target="../media/image52.png"/><Relationship Id="rId38" Type="http://schemas.openxmlformats.org/officeDocument/2006/relationships/image" Target="../media/image57.png"/><Relationship Id="rId46" Type="http://schemas.openxmlformats.org/officeDocument/2006/relationships/image" Target="../media/image65.jpeg"/><Relationship Id="rId2" Type="http://schemas.openxmlformats.org/officeDocument/2006/relationships/image" Target="../media/image25.jpeg"/><Relationship Id="rId16" Type="http://schemas.openxmlformats.org/officeDocument/2006/relationships/image" Target="../media/image38.png"/><Relationship Id="rId20" Type="http://schemas.openxmlformats.org/officeDocument/2006/relationships/image" Target="../media/image40.png"/><Relationship Id="rId29" Type="http://schemas.openxmlformats.org/officeDocument/2006/relationships/image" Target="../media/image48.png"/><Relationship Id="rId41" Type="http://schemas.openxmlformats.org/officeDocument/2006/relationships/image" Target="../media/image6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11" Type="http://schemas.openxmlformats.org/officeDocument/2006/relationships/image" Target="../media/image33.png"/><Relationship Id="rId24" Type="http://schemas.openxmlformats.org/officeDocument/2006/relationships/image" Target="../media/image43.png"/><Relationship Id="rId32" Type="http://schemas.openxmlformats.org/officeDocument/2006/relationships/image" Target="../media/image51.png"/><Relationship Id="rId37" Type="http://schemas.openxmlformats.org/officeDocument/2006/relationships/image" Target="../media/image56.png"/><Relationship Id="rId40" Type="http://schemas.openxmlformats.org/officeDocument/2006/relationships/image" Target="../media/image59.png"/><Relationship Id="rId45" Type="http://schemas.openxmlformats.org/officeDocument/2006/relationships/image" Target="../media/image64.jpeg"/><Relationship Id="rId5" Type="http://schemas.openxmlformats.org/officeDocument/2006/relationships/image" Target="../media/image28.png"/><Relationship Id="rId15" Type="http://schemas.openxmlformats.org/officeDocument/2006/relationships/image" Target="../media/image37.png"/><Relationship Id="rId23" Type="http://schemas.openxmlformats.org/officeDocument/2006/relationships/image" Target="../media/image42.png"/><Relationship Id="rId28" Type="http://schemas.openxmlformats.org/officeDocument/2006/relationships/image" Target="../media/image47.png"/><Relationship Id="rId36" Type="http://schemas.openxmlformats.org/officeDocument/2006/relationships/image" Target="../media/image55.png"/><Relationship Id="rId10" Type="http://schemas.openxmlformats.org/officeDocument/2006/relationships/image" Target="../media/image13.png"/><Relationship Id="rId19" Type="http://schemas.openxmlformats.org/officeDocument/2006/relationships/image" Target="../media/image11.png"/><Relationship Id="rId31" Type="http://schemas.openxmlformats.org/officeDocument/2006/relationships/image" Target="../media/image50.png"/><Relationship Id="rId44" Type="http://schemas.openxmlformats.org/officeDocument/2006/relationships/image" Target="../media/image63.jpe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6.png"/><Relationship Id="rId22" Type="http://schemas.openxmlformats.org/officeDocument/2006/relationships/image" Target="../media/image41.png"/><Relationship Id="rId27" Type="http://schemas.openxmlformats.org/officeDocument/2006/relationships/image" Target="../media/image46.jpeg"/><Relationship Id="rId30" Type="http://schemas.openxmlformats.org/officeDocument/2006/relationships/image" Target="../media/image49.png"/><Relationship Id="rId35" Type="http://schemas.openxmlformats.org/officeDocument/2006/relationships/image" Target="../media/image54.png"/><Relationship Id="rId43" Type="http://schemas.openxmlformats.org/officeDocument/2006/relationships/image" Target="../media/image62.png"/><Relationship Id="rId48" Type="http://schemas.openxmlformats.org/officeDocument/2006/relationships/image" Target="../media/image6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7.jpeg"/><Relationship Id="rId18" Type="http://schemas.openxmlformats.org/officeDocument/2006/relationships/image" Target="../media/image8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76.jpeg"/><Relationship Id="rId17" Type="http://schemas.openxmlformats.org/officeDocument/2006/relationships/image" Target="../media/image81.jpeg"/><Relationship Id="rId2" Type="http://schemas.openxmlformats.org/officeDocument/2006/relationships/image" Target="../media/image71.jpeg"/><Relationship Id="rId16" Type="http://schemas.openxmlformats.org/officeDocument/2006/relationships/image" Target="../media/image80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75.jpe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79.jpeg"/><Relationship Id="rId10" Type="http://schemas.openxmlformats.org/officeDocument/2006/relationships/image" Target="../media/image74.jpeg"/><Relationship Id="rId4" Type="http://schemas.openxmlformats.org/officeDocument/2006/relationships/diagramLayout" Target="../diagrams/layout1.xml"/><Relationship Id="rId9" Type="http://schemas.openxmlformats.org/officeDocument/2006/relationships/image" Target="../media/image73.jpeg"/><Relationship Id="rId14" Type="http://schemas.openxmlformats.org/officeDocument/2006/relationships/image" Target="../media/image7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jpeg"/><Relationship Id="rId18" Type="http://schemas.openxmlformats.org/officeDocument/2006/relationships/image" Target="../media/image98.jpeg"/><Relationship Id="rId3" Type="http://schemas.openxmlformats.org/officeDocument/2006/relationships/image" Target="../media/image83.jpeg"/><Relationship Id="rId21" Type="http://schemas.openxmlformats.org/officeDocument/2006/relationships/image" Target="../media/image101.jpeg"/><Relationship Id="rId7" Type="http://schemas.openxmlformats.org/officeDocument/2006/relationships/image" Target="../media/image87.png"/><Relationship Id="rId12" Type="http://schemas.openxmlformats.org/officeDocument/2006/relationships/image" Target="../media/image92.jpeg"/><Relationship Id="rId17" Type="http://schemas.openxmlformats.org/officeDocument/2006/relationships/image" Target="../media/image97.jpe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96.jpeg"/><Relationship Id="rId20" Type="http://schemas.openxmlformats.org/officeDocument/2006/relationships/image" Target="../media/image10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6.png"/><Relationship Id="rId11" Type="http://schemas.openxmlformats.org/officeDocument/2006/relationships/image" Target="../media/image91.jpeg"/><Relationship Id="rId5" Type="http://schemas.openxmlformats.org/officeDocument/2006/relationships/image" Target="../media/image85.png"/><Relationship Id="rId15" Type="http://schemas.openxmlformats.org/officeDocument/2006/relationships/image" Target="../media/image95.jpeg"/><Relationship Id="rId10" Type="http://schemas.openxmlformats.org/officeDocument/2006/relationships/image" Target="../media/image90.jpeg"/><Relationship Id="rId19" Type="http://schemas.openxmlformats.org/officeDocument/2006/relationships/image" Target="../media/image99.jpeg"/><Relationship Id="rId4" Type="http://schemas.openxmlformats.org/officeDocument/2006/relationships/image" Target="../media/image84.png"/><Relationship Id="rId9" Type="http://schemas.openxmlformats.org/officeDocument/2006/relationships/image" Target="../media/image89.jpeg"/><Relationship Id="rId14" Type="http://schemas.openxmlformats.org/officeDocument/2006/relationships/image" Target="../media/image94.jpeg"/><Relationship Id="rId22" Type="http://schemas.openxmlformats.org/officeDocument/2006/relationships/image" Target="../media/image102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0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8.png"/><Relationship Id="rId5" Type="http://schemas.openxmlformats.org/officeDocument/2006/relationships/image" Target="../media/image107.jpeg"/><Relationship Id="rId4" Type="http://schemas.openxmlformats.org/officeDocument/2006/relationships/image" Target="../media/image8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052513" y="3602017"/>
            <a:ext cx="7623654" cy="1752600"/>
          </a:xfrm>
          <a:ln/>
        </p:spPr>
        <p:txBody>
          <a:bodyPr/>
          <a:lstStyle/>
          <a:p>
            <a:pPr algn="l"/>
            <a:r>
              <a:rPr lang="it-IT" smtClean="0">
                <a:solidFill>
                  <a:srgbClr val="808080"/>
                </a:solidFill>
                <a:ea typeface="ＭＳ Ｐゴシック" pitchFamily="-84" charset="-128"/>
                <a:cs typeface="ＭＳ Ｐゴシック" pitchFamily="-84" charset="-128"/>
              </a:rPr>
              <a:t>La sfida dell’innovazione</a:t>
            </a:r>
            <a:endParaRPr lang="it-IT" dirty="0">
              <a:solidFill>
                <a:srgbClr val="808080"/>
              </a:solidFill>
              <a:ea typeface="ＭＳ Ｐゴシック" pitchFamily="-84" charset="-128"/>
              <a:cs typeface="ＭＳ Ｐゴシック" pitchFamily="-84" charset="-128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3" cstate="print"/>
          <a:srcRect l="5835"/>
          <a:stretch>
            <a:fillRect/>
          </a:stretch>
        </p:blipFill>
        <p:spPr bwMode="auto">
          <a:xfrm>
            <a:off x="5814617" y="539751"/>
            <a:ext cx="2899569" cy="229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249" name="Rectangle 9"/>
          <p:cNvSpPr>
            <a:spLocks noGrp="1" noChangeArrowheads="1"/>
          </p:cNvSpPr>
          <p:nvPr>
            <p:ph type="ctrTitle"/>
          </p:nvPr>
        </p:nvSpPr>
        <p:spPr>
          <a:xfrm>
            <a:off x="1052513" y="2501269"/>
            <a:ext cx="6772540" cy="1508105"/>
          </a:xfrm>
        </p:spPr>
        <p:txBody>
          <a:bodyPr/>
          <a:lstStyle/>
          <a:p>
            <a:pPr algn="l"/>
            <a:r>
              <a:rPr lang="it-IT" sz="4600" smtClean="0">
                <a:ea typeface="ＭＳ Ｐゴシック" pitchFamily="-84" charset="-128"/>
                <a:cs typeface="ＭＳ Ｐゴシック" pitchFamily="-84" charset="-128"/>
              </a:rPr>
              <a:t>Tecnologia e servizi</a:t>
            </a:r>
            <a:endParaRPr lang="it-IT" sz="4600" dirty="0" smtClean="0">
              <a:ea typeface="ＭＳ Ｐゴシック" pitchFamily="-84" charset="-128"/>
              <a:cs typeface="ＭＳ Ｐゴシック" pitchFamily="-84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44574" y="4876800"/>
            <a:ext cx="53371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1" dirty="0" smtClean="0"/>
              <a:t>MARIO  MELLA</a:t>
            </a:r>
          </a:p>
          <a:p>
            <a:endParaRPr lang="it-IT" b="1" dirty="0" smtClean="0"/>
          </a:p>
          <a:p>
            <a:r>
              <a:rPr lang="it-IT" sz="1600" b="1" i="1" dirty="0" smtClean="0"/>
              <a:t>VoIP DAY 2010 - Il futuro della rete</a:t>
            </a:r>
          </a:p>
          <a:p>
            <a:r>
              <a:rPr lang="it-IT" sz="1600" b="1" i="1" dirty="0" smtClean="0"/>
              <a:t>Roma, 25 marzo 2010</a:t>
            </a:r>
            <a:endParaRPr lang="it-IT" sz="1600" i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C:\Users\groda\Pictures\Microsoft Clip Organizer\Servizio1.jpg"/>
          <p:cNvPicPr>
            <a:picLocks noGrp="1" noChangeAspect="1" noChangeArrowheads="1"/>
          </p:cNvPicPr>
          <p:nvPr>
            <p:ph type="pic" idx="1"/>
          </p:nvPr>
        </p:nvPicPr>
        <p:blipFill>
          <a:blip r:embed="rId2" cstate="print"/>
          <a:srcRect t="13583" b="13583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novazione nei Servizi: il modello IMS</a:t>
            </a:r>
            <a:endParaRPr lang="it-IT" dirty="0"/>
          </a:p>
        </p:txBody>
      </p:sp>
      <p:grpSp>
        <p:nvGrpSpPr>
          <p:cNvPr id="79" name="Group 78"/>
          <p:cNvGrpSpPr/>
          <p:nvPr/>
        </p:nvGrpSpPr>
        <p:grpSpPr>
          <a:xfrm>
            <a:off x="652670" y="857232"/>
            <a:ext cx="6732000" cy="1800000"/>
            <a:chOff x="452406" y="857232"/>
            <a:chExt cx="6732000" cy="1800000"/>
          </a:xfrm>
        </p:grpSpPr>
        <p:sp>
          <p:nvSpPr>
            <p:cNvPr id="34" name="Rounded Rectangle 33"/>
            <p:cNvSpPr/>
            <p:nvPr/>
          </p:nvSpPr>
          <p:spPr bwMode="auto">
            <a:xfrm>
              <a:off x="452406" y="857232"/>
              <a:ext cx="6732000" cy="1800000"/>
            </a:xfrm>
            <a:prstGeom prst="roundRect">
              <a:avLst>
                <a:gd name="adj" fmla="val 2826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cene3d>
                <a:camera prst="orthographicFront"/>
                <a:lightRig rig="soft" dir="t">
                  <a:rot lat="0" lon="0" rev="10800000"/>
                </a:lightRig>
              </a:scene3d>
              <a:sp3d>
                <a:bevelT w="27940" h="12700"/>
                <a:contourClr>
                  <a:srgbClr val="DDDDDD"/>
                </a:contourClr>
              </a:sp3d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600" b="1" spc="150" dirty="0" smtClean="0">
                  <a:ln w="11430"/>
                  <a:solidFill>
                    <a:schemeClr val="tx1"/>
                  </a:solidFill>
                  <a:latin typeface="Interstate-Light" pitchFamily="2" charset="0"/>
                </a:rPr>
                <a:t>SERVIZI E APPLICAZIONI</a:t>
              </a:r>
              <a:endParaRPr lang="en-US" sz="1600" b="1" spc="150" dirty="0">
                <a:ln w="11430"/>
                <a:solidFill>
                  <a:schemeClr val="tx1"/>
                </a:solidFill>
                <a:latin typeface="Interstate-Light" pitchFamily="2" charset="0"/>
              </a:endParaRPr>
            </a:p>
          </p:txBody>
        </p:sp>
        <p:pic>
          <p:nvPicPr>
            <p:cNvPr id="56" name="Picture 10" descr="C:\Users\groda\Pictures\Microsoft Clip Organizer\Profile.jpg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595282" y="1414686"/>
              <a:ext cx="1500198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58" name="Picture 10" descr="C:\Users\groda\Pictures\Microsoft Clip Organizer\Profile.jpg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2238356" y="1414686"/>
              <a:ext cx="1500198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59" name="Picture 10" descr="C:\Users\groda\Pictures\Microsoft Clip Organizer\Profile.jpg"/>
            <p:cNvPicPr>
              <a:picLocks noChangeAspect="1" noChangeArrowheads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3881430" y="1414686"/>
              <a:ext cx="1500198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65" name="Picture 10" descr="C:\Users\groda\Pictures\Microsoft Clip Organizer\Profile.jpg"/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5527985" y="1428736"/>
              <a:ext cx="1496717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66" name="Rectangle 65"/>
            <p:cNvSpPr/>
            <p:nvPr/>
          </p:nvSpPr>
          <p:spPr>
            <a:xfrm>
              <a:off x="881034" y="1142984"/>
              <a:ext cx="97654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TELEFONO</a:t>
              </a:r>
              <a:endParaRPr lang="en-US" sz="1000" spc="150" dirty="0">
                <a:ln w="1143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096282" y="1142984"/>
              <a:ext cx="180850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VIDECOMUNICAZIONE</a:t>
              </a:r>
              <a:endParaRPr lang="en-US" sz="1000" spc="150" dirty="0">
                <a:ln w="11430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4158541" y="1142984"/>
              <a:ext cx="97013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PRESENCE</a:t>
              </a:r>
              <a:endParaRPr lang="en-US" sz="1000" spc="150" dirty="0">
                <a:ln w="11430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5407905" y="1142984"/>
              <a:ext cx="1776448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INSTANT MESSAGING</a:t>
              </a:r>
              <a:endParaRPr lang="en-US" sz="1000" spc="150" dirty="0">
                <a:ln w="11430"/>
              </a:endParaRPr>
            </a:p>
          </p:txBody>
        </p:sp>
      </p:grpSp>
      <p:grpSp>
        <p:nvGrpSpPr>
          <p:cNvPr id="78" name="Group 77"/>
          <p:cNvGrpSpPr/>
          <p:nvPr/>
        </p:nvGrpSpPr>
        <p:grpSpPr>
          <a:xfrm>
            <a:off x="652670" y="2772008"/>
            <a:ext cx="6732000" cy="1800000"/>
            <a:chOff x="452406" y="2772008"/>
            <a:chExt cx="6732000" cy="1800000"/>
          </a:xfrm>
        </p:grpSpPr>
        <p:sp>
          <p:nvSpPr>
            <p:cNvPr id="40" name="Rounded Rectangle 39"/>
            <p:cNvSpPr/>
            <p:nvPr/>
          </p:nvSpPr>
          <p:spPr bwMode="auto">
            <a:xfrm>
              <a:off x="452406" y="2772008"/>
              <a:ext cx="6732000" cy="1800000"/>
            </a:xfrm>
            <a:prstGeom prst="roundRect">
              <a:avLst>
                <a:gd name="adj" fmla="val 197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cene3d>
                <a:camera prst="orthographicFront"/>
                <a:lightRig rig="soft" dir="t">
                  <a:rot lat="0" lon="0" rev="10800000"/>
                </a:lightRig>
              </a:scene3d>
              <a:sp3d>
                <a:bevelT w="27940" h="12700"/>
                <a:contourClr>
                  <a:srgbClr val="DDDDDD"/>
                </a:contourClr>
              </a:sp3d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600" b="1" spc="150" dirty="0" smtClean="0">
                  <a:ln w="11430"/>
                  <a:solidFill>
                    <a:schemeClr val="tx1"/>
                  </a:solidFill>
                  <a:latin typeface="Interstate-Light" pitchFamily="2" charset="0"/>
                </a:rPr>
                <a:t>CONTROLLO SESSIONE</a:t>
              </a:r>
            </a:p>
          </p:txBody>
        </p:sp>
        <p:pic>
          <p:nvPicPr>
            <p:cNvPr id="2058" name="Picture 10" descr="C:\Users\groda\Pictures\Microsoft Clip Organizer\Profile.jpg"/>
            <p:cNvPicPr>
              <a:picLocks noChangeAspect="1" noChangeArrowheads="1"/>
            </p:cNvPicPr>
            <p:nvPr/>
          </p:nvPicPr>
          <p:blipFill>
            <a:blip r:embed="rId7" cstate="print"/>
            <a:stretch>
              <a:fillRect/>
            </a:stretch>
          </p:blipFill>
          <p:spPr bwMode="auto">
            <a:xfrm>
              <a:off x="595282" y="3343512"/>
              <a:ext cx="1500198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059" name="Picture 11" descr="C:\Users\groda\Pictures\Microsoft Clip Organizer\Denaro1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524504" y="3343512"/>
              <a:ext cx="1500198" cy="107632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51" name="Picture 10" descr="C:\Users\groda\Pictures\Microsoft Clip Organizer\Profile.jpg"/>
            <p:cNvPicPr>
              <a:picLocks noChangeAspect="1" noChangeArrowheads="1"/>
            </p:cNvPicPr>
            <p:nvPr/>
          </p:nvPicPr>
          <p:blipFill>
            <a:blip r:embed="rId9" cstate="print"/>
            <a:stretch>
              <a:fillRect/>
            </a:stretch>
          </p:blipFill>
          <p:spPr bwMode="auto">
            <a:xfrm>
              <a:off x="2240096" y="3343512"/>
              <a:ext cx="1496717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060" name="Picture 12" descr="C:\Users\groda\Pictures\Microsoft Clip Organizer\Ponte4.jpg"/>
            <p:cNvPicPr>
              <a:picLocks noChangeAspect="1" noChangeArrowheads="1"/>
            </p:cNvPicPr>
            <p:nvPr/>
          </p:nvPicPr>
          <p:blipFill>
            <a:blip r:embed="rId10" cstate="print"/>
            <a:stretch>
              <a:fillRect/>
            </a:stretch>
          </p:blipFill>
          <p:spPr bwMode="auto">
            <a:xfrm>
              <a:off x="3881430" y="3343512"/>
              <a:ext cx="1500198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70" name="Rectangle 69"/>
            <p:cNvSpPr/>
            <p:nvPr/>
          </p:nvSpPr>
          <p:spPr>
            <a:xfrm>
              <a:off x="473773" y="3071810"/>
              <a:ext cx="1648208" cy="2576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GESTIONE PROFILO</a:t>
              </a:r>
              <a:endParaRPr lang="en-US" sz="1000" spc="150" dirty="0">
                <a:ln w="1143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173123" y="3071810"/>
              <a:ext cx="1511953" cy="2576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AUTENTICAZIONE</a:t>
              </a:r>
              <a:endParaRPr lang="en-US" sz="1000" spc="150" dirty="0">
                <a:ln w="1143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3832228" y="3071810"/>
              <a:ext cx="1479892" cy="2576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INSTRADAMENTO</a:t>
              </a:r>
              <a:endParaRPr lang="en-US" sz="1000" spc="150" dirty="0">
                <a:ln w="11430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5739623" y="3071810"/>
              <a:ext cx="970137" cy="2576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CHARGING</a:t>
              </a:r>
              <a:endParaRPr lang="en-US" sz="1000" spc="150" dirty="0">
                <a:ln w="11430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652670" y="4700810"/>
            <a:ext cx="3456000" cy="1800000"/>
            <a:chOff x="452406" y="4700810"/>
            <a:chExt cx="3456000" cy="1800000"/>
          </a:xfrm>
        </p:grpSpPr>
        <p:sp>
          <p:nvSpPr>
            <p:cNvPr id="29" name="Rounded Rectangle 28"/>
            <p:cNvSpPr/>
            <p:nvPr/>
          </p:nvSpPr>
          <p:spPr bwMode="auto">
            <a:xfrm>
              <a:off x="452406" y="4700810"/>
              <a:ext cx="3456000" cy="1800000"/>
            </a:xfrm>
            <a:prstGeom prst="roundRect">
              <a:avLst>
                <a:gd name="adj" fmla="val 1566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cene3d>
                <a:camera prst="orthographicFront"/>
                <a:lightRig rig="soft" dir="t">
                  <a:rot lat="0" lon="0" rev="10800000"/>
                </a:lightRig>
              </a:scene3d>
              <a:sp3d>
                <a:bevelT w="27940" h="12700"/>
                <a:contourClr>
                  <a:srgbClr val="DDDDDD"/>
                </a:contourClr>
              </a:sp3d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it-IT" sz="1600" b="1" spc="150" dirty="0" smtClean="0">
                  <a:ln w="11430"/>
                  <a:solidFill>
                    <a:schemeClr val="tx1"/>
                  </a:solidFill>
                  <a:latin typeface="Interstate-Light" pitchFamily="2" charset="0"/>
                </a:rPr>
                <a:t>CONNETTIVITA’</a:t>
              </a:r>
            </a:p>
          </p:txBody>
        </p:sp>
        <p:pic>
          <p:nvPicPr>
            <p:cNvPr id="49" name="Picture 9" descr="C:\Users\groda\Pictures\Microsoft Clip Organizer\Cabling10.jp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595282" y="5272338"/>
              <a:ext cx="1500198" cy="107157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50" name="Picture 9" descr="C:\Users\groda\Pictures\Microsoft Clip Organizer\Cabling10.jpg"/>
            <p:cNvPicPr>
              <a:picLocks noChangeAspect="1" noChangeArrowheads="1"/>
            </p:cNvPicPr>
            <p:nvPr/>
          </p:nvPicPr>
          <p:blipFill>
            <a:blip r:embed="rId12" cstate="print"/>
            <a:stretch>
              <a:fillRect/>
            </a:stretch>
          </p:blipFill>
          <p:spPr bwMode="auto">
            <a:xfrm>
              <a:off x="2238356" y="5272338"/>
              <a:ext cx="1500199" cy="107156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74" name="Rectangle 73"/>
            <p:cNvSpPr/>
            <p:nvPr/>
          </p:nvSpPr>
          <p:spPr>
            <a:xfrm>
              <a:off x="643273" y="5000636"/>
              <a:ext cx="1409360" cy="2576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COLLEGAMENTO</a:t>
              </a:r>
              <a:endParaRPr lang="en-US" sz="1000" spc="150" dirty="0">
                <a:ln w="11430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2345025" y="5000636"/>
              <a:ext cx="1268297" cy="25763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000" spc="150" dirty="0" smtClean="0">
                  <a:ln w="11430"/>
                </a:rPr>
                <a:t>TRANSCODING</a:t>
              </a:r>
              <a:endParaRPr lang="en-US" sz="1000" spc="150" dirty="0">
                <a:ln w="11430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4224570" y="4700834"/>
            <a:ext cx="5086148" cy="1800000"/>
            <a:chOff x="4224570" y="4700834"/>
            <a:chExt cx="5086148" cy="1800000"/>
          </a:xfrm>
        </p:grpSpPr>
        <p:sp>
          <p:nvSpPr>
            <p:cNvPr id="52" name="Rounded Rectangle 51"/>
            <p:cNvSpPr/>
            <p:nvPr/>
          </p:nvSpPr>
          <p:spPr bwMode="auto">
            <a:xfrm>
              <a:off x="4224570" y="4700834"/>
              <a:ext cx="3168000" cy="1800000"/>
            </a:xfrm>
            <a:prstGeom prst="roundRect">
              <a:avLst>
                <a:gd name="adj" fmla="val 2903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cene3d>
                <a:camera prst="orthographicFront"/>
                <a:lightRig rig="soft" dir="t">
                  <a:rot lat="0" lon="0" rev="10800000"/>
                </a:lightRig>
              </a:scene3d>
              <a:sp3d>
                <a:bevelT w="27940" h="12700"/>
                <a:contourClr>
                  <a:srgbClr val="DDDDDD"/>
                </a:contourClr>
              </a:sp3d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en-US" sz="1600" b="1" spc="150" dirty="0" smtClean="0">
                  <a:ln w="11430"/>
                  <a:solidFill>
                    <a:schemeClr val="tx1"/>
                  </a:solidFill>
                  <a:latin typeface="Interstate-Light" pitchFamily="2" charset="0"/>
                </a:rPr>
                <a:t>GATEWAY</a:t>
              </a:r>
            </a:p>
          </p:txBody>
        </p:sp>
        <p:pic>
          <p:nvPicPr>
            <p:cNvPr id="2063" name="Picture 15" descr="C:\Users\groda\Desktop\Ponte3.jp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938950" y="5133307"/>
              <a:ext cx="1714512" cy="122465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80" name="Rounded Rectangle 79"/>
            <p:cNvSpPr/>
            <p:nvPr/>
          </p:nvSpPr>
          <p:spPr bwMode="auto">
            <a:xfrm>
              <a:off x="7510718" y="4700834"/>
              <a:ext cx="1800000" cy="1800000"/>
            </a:xfrm>
            <a:prstGeom prst="roundRect">
              <a:avLst>
                <a:gd name="adj" fmla="val 2903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cene3d>
                <a:camera prst="orthographicFront"/>
                <a:lightRig rig="soft" dir="t">
                  <a:rot lat="0" lon="0" rev="10800000"/>
                </a:lightRig>
              </a:scene3d>
              <a:sp3d>
                <a:bevelT w="27940" h="12700"/>
                <a:contourClr>
                  <a:srgbClr val="DDDDDD"/>
                </a:contourClr>
              </a:sp3d>
            </a:bodyPr>
            <a:lstStyle/>
            <a:p>
              <a:pPr marL="174625" indent="-174625" algn="ctr" eaLnBrk="0" hangingPunct="0">
                <a:lnSpc>
                  <a:spcPct val="12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endParaRPr lang="en-US" sz="1600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Interstate-Light" pitchFamily="2" charset="0"/>
              </a:endParaRPr>
            </a:p>
          </p:txBody>
        </p:sp>
        <p:grpSp>
          <p:nvGrpSpPr>
            <p:cNvPr id="84" name="Group 83"/>
            <p:cNvGrpSpPr>
              <a:grpSpLocks noChangeAspect="1"/>
            </p:cNvGrpSpPr>
            <p:nvPr/>
          </p:nvGrpSpPr>
          <p:grpSpPr>
            <a:xfrm>
              <a:off x="7725032" y="4786322"/>
              <a:ext cx="1280510" cy="816408"/>
              <a:chOff x="8123621" y="4857760"/>
              <a:chExt cx="711398" cy="453560"/>
            </a:xfrm>
          </p:grpSpPr>
          <p:pic>
            <p:nvPicPr>
              <p:cNvPr id="81" name="Picture 7" descr="C:\Users\groda\Pictures\Microsoft Clip Organizer\Cloud2.png"/>
              <p:cNvPicPr preferRelativeResize="0">
                <a:picLocks noChangeArrowheads="1"/>
              </p:cNvPicPr>
              <p:nvPr/>
            </p:nvPicPr>
            <p:blipFill>
              <a:blip r:embed="rId14" cstate="print"/>
              <a:stretch>
                <a:fillRect/>
              </a:stretch>
            </p:blipFill>
            <p:spPr bwMode="auto">
              <a:xfrm>
                <a:off x="8167710" y="4857760"/>
                <a:ext cx="646081" cy="453560"/>
              </a:xfrm>
              <a:prstGeom prst="rect">
                <a:avLst/>
              </a:prstGeom>
              <a:noFill/>
              <a:effectLst>
                <a:outerShdw blurRad="139700" dist="88900" dir="5100000" sx="105000" sy="105000" algn="ctr" rotWithShape="0">
                  <a:srgbClr val="000000">
                    <a:alpha val="29000"/>
                  </a:srgbClr>
                </a:outerShdw>
              </a:effectLst>
            </p:spPr>
          </p:pic>
          <p:sp>
            <p:nvSpPr>
              <p:cNvPr id="82" name="Text Box 169"/>
              <p:cNvSpPr txBox="1">
                <a:spLocks noChangeAspect="1" noChangeArrowheads="1"/>
              </p:cNvSpPr>
              <p:nvPr/>
            </p:nvSpPr>
            <p:spPr bwMode="auto">
              <a:xfrm>
                <a:off x="8123621" y="5010293"/>
                <a:ext cx="711398" cy="182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anchor="ctr" anchorCtr="0"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it-IT" dirty="0" smtClean="0">
                    <a:solidFill>
                      <a:srgbClr val="C00000"/>
                    </a:solidFill>
                  </a:rPr>
                  <a:t>IP</a:t>
                </a:r>
                <a:endParaRPr lang="en-GB" dirty="0">
                  <a:solidFill>
                    <a:srgbClr val="C00000"/>
                  </a:solidFill>
                </a:endParaRPr>
              </a:p>
            </p:txBody>
          </p:sp>
        </p:grpSp>
        <p:grpSp>
          <p:nvGrpSpPr>
            <p:cNvPr id="85" name="Group 84"/>
            <p:cNvGrpSpPr>
              <a:grpSpLocks noChangeAspect="1"/>
            </p:cNvGrpSpPr>
            <p:nvPr/>
          </p:nvGrpSpPr>
          <p:grpSpPr>
            <a:xfrm>
              <a:off x="7725032" y="5572140"/>
              <a:ext cx="1280510" cy="816408"/>
              <a:chOff x="8121176" y="4857760"/>
              <a:chExt cx="711398" cy="453560"/>
            </a:xfrm>
          </p:grpSpPr>
          <p:pic>
            <p:nvPicPr>
              <p:cNvPr id="86" name="Picture 7" descr="C:\Users\groda\Pictures\Microsoft Clip Organizer\Cloud2.png"/>
              <p:cNvPicPr preferRelativeResize="0">
                <a:picLocks noChangeArrowheads="1"/>
              </p:cNvPicPr>
              <p:nvPr/>
            </p:nvPicPr>
            <p:blipFill>
              <a:blip r:embed="rId14" cstate="print"/>
              <a:stretch>
                <a:fillRect/>
              </a:stretch>
            </p:blipFill>
            <p:spPr bwMode="auto">
              <a:xfrm>
                <a:off x="8167710" y="4857760"/>
                <a:ext cx="646081" cy="453560"/>
              </a:xfrm>
              <a:prstGeom prst="rect">
                <a:avLst/>
              </a:prstGeom>
              <a:noFill/>
              <a:effectLst>
                <a:outerShdw blurRad="139700" dist="88900" dir="5100000" sx="105000" sy="105000" algn="ctr" rotWithShape="0">
                  <a:srgbClr val="000000">
                    <a:alpha val="29000"/>
                  </a:srgbClr>
                </a:outerShdw>
              </a:effectLst>
            </p:spPr>
          </p:pic>
          <p:sp>
            <p:nvSpPr>
              <p:cNvPr id="87" name="Text Box 169"/>
              <p:cNvSpPr txBox="1">
                <a:spLocks noChangeAspect="1" noChangeArrowheads="1"/>
              </p:cNvSpPr>
              <p:nvPr/>
            </p:nvSpPr>
            <p:spPr bwMode="auto">
              <a:xfrm>
                <a:off x="8121176" y="4976827"/>
                <a:ext cx="711398" cy="182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it-IT" dirty="0" smtClean="0">
                    <a:solidFill>
                      <a:srgbClr val="C00000"/>
                    </a:solidFill>
                  </a:rPr>
                  <a:t>TDM</a:t>
                </a:r>
                <a:endParaRPr lang="en-GB" dirty="0">
                  <a:solidFill>
                    <a:srgbClr val="C00000"/>
                  </a:solidFill>
                </a:endParaRPr>
              </a:p>
            </p:txBody>
          </p:sp>
        </p:grpSp>
      </p:grpSp>
      <p:sp>
        <p:nvSpPr>
          <p:cNvPr id="43" name="Rounded Rectangle 42"/>
          <p:cNvSpPr/>
          <p:nvPr/>
        </p:nvSpPr>
        <p:spPr>
          <a:xfrm>
            <a:off x="6738950" y="1142984"/>
            <a:ext cx="2835472" cy="3357586"/>
          </a:xfrm>
          <a:prstGeom prst="roundRect">
            <a:avLst>
              <a:gd name="adj" fmla="val 3764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indent="-184758" algn="ctr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HIGHLIGHTS</a:t>
            </a:r>
          </a:p>
          <a:p>
            <a:pPr marL="180975" indent="-180975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Modello di riferimento per reti e servizi multimediali</a:t>
            </a:r>
          </a:p>
          <a:p>
            <a:pPr marL="180975" indent="-180975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Promosso da ETSI (3GPP) e ITU</a:t>
            </a:r>
          </a:p>
          <a:p>
            <a:pPr marL="180975" indent="-180975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Adottato dai principali vendor di terminali e piattaforme (SIP protocol)</a:t>
            </a:r>
          </a:p>
        </p:txBody>
      </p:sp>
      <p:pic>
        <p:nvPicPr>
          <p:cNvPr id="44" name="Picture 16" descr="C:\Users\groda\Pictures\Microsoft Clip Organizer\Freccia21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67578" y="5000636"/>
            <a:ext cx="502128" cy="518978"/>
          </a:xfrm>
          <a:prstGeom prst="rect">
            <a:avLst/>
          </a:prstGeom>
          <a:noFill/>
          <a:effectLst>
            <a:outerShdw blurRad="50800" dist="889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5" name="Picture 16" descr="C:\Users\groda\Pictures\Microsoft Clip Organizer\Freccia21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67578" y="5715016"/>
            <a:ext cx="502128" cy="518978"/>
          </a:xfrm>
          <a:prstGeom prst="rect">
            <a:avLst/>
          </a:prstGeom>
          <a:noFill/>
          <a:effectLst>
            <a:outerShdw blurRad="50800" dist="889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6" name="Slide Number Placeholder 4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10</a:t>
            </a:fld>
            <a:endParaRPr lang="it-IT" sz="1400">
              <a:latin typeface="Times New Roman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groda\Pictures\Microsoft Clip Organizer\Callcenter3.jpg"/>
          <p:cNvPicPr>
            <a:picLocks noGrp="1" noChangeAspect="1" noChangeArrowheads="1"/>
          </p:cNvPicPr>
          <p:nvPr>
            <p:ph type="pic" idx="1"/>
          </p:nvPr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t="10704" b="10704"/>
          <a:stretch>
            <a:fillRect/>
          </a:stretch>
        </p:blipFill>
        <p:spPr bwMode="auto"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novazione nei Servizi: UC e Virtual IP-PBX</a:t>
            </a:r>
            <a:endParaRPr lang="it-IT" dirty="0"/>
          </a:p>
        </p:txBody>
      </p:sp>
      <p:grpSp>
        <p:nvGrpSpPr>
          <p:cNvPr id="141" name="Group 140"/>
          <p:cNvGrpSpPr/>
          <p:nvPr/>
        </p:nvGrpSpPr>
        <p:grpSpPr>
          <a:xfrm>
            <a:off x="596066" y="2546636"/>
            <a:ext cx="8070181" cy="2182708"/>
            <a:chOff x="57932" y="2663181"/>
            <a:chExt cx="8070181" cy="2182708"/>
          </a:xfrm>
        </p:grpSpPr>
        <p:sp>
          <p:nvSpPr>
            <p:cNvPr id="7" name="AutoShape 4"/>
            <p:cNvSpPr>
              <a:spLocks noChangeArrowheads="1"/>
            </p:cNvSpPr>
            <p:nvPr/>
          </p:nvSpPr>
          <p:spPr bwMode="auto">
            <a:xfrm>
              <a:off x="268401" y="2741053"/>
              <a:ext cx="7859712" cy="1935162"/>
            </a:xfrm>
            <a:prstGeom prst="parallelogram">
              <a:avLst>
                <a:gd name="adj" fmla="val 75833"/>
              </a:avLst>
            </a:prstGeom>
            <a:gradFill>
              <a:gsLst>
                <a:gs pos="0">
                  <a:schemeClr val="accent2">
                    <a:tint val="50000"/>
                    <a:satMod val="300000"/>
                    <a:alpha val="70000"/>
                  </a:schemeClr>
                </a:gs>
                <a:gs pos="71000">
                  <a:schemeClr val="accent2">
                    <a:tint val="37000"/>
                    <a:satMod val="300000"/>
                  </a:schemeClr>
                </a:gs>
              </a:gsLst>
            </a:gradFill>
            <a:ln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  <a:defRPr/>
              </a:pPr>
              <a:endParaRPr lang="en-US" sz="1100">
                <a:latin typeface="Interstate-Light" pitchFamily="2" charset="0"/>
              </a:endParaRPr>
            </a:p>
          </p:txBody>
        </p:sp>
        <p:sp>
          <p:nvSpPr>
            <p:cNvPr id="127" name="AutoShape 12"/>
            <p:cNvSpPr>
              <a:spLocks noChangeArrowheads="1"/>
            </p:cNvSpPr>
            <p:nvPr/>
          </p:nvSpPr>
          <p:spPr bwMode="auto">
            <a:xfrm>
              <a:off x="4553046" y="2816709"/>
              <a:ext cx="3394120" cy="1723110"/>
            </a:xfrm>
            <a:prstGeom prst="parallelogram">
              <a:avLst>
                <a:gd name="adj" fmla="val 77219"/>
              </a:avLst>
            </a:prstGeom>
            <a:gradFill>
              <a:gsLst>
                <a:gs pos="0">
                  <a:schemeClr val="accent2">
                    <a:tint val="50000"/>
                    <a:satMod val="300000"/>
                    <a:alpha val="70000"/>
                  </a:schemeClr>
                </a:gs>
                <a:gs pos="71000">
                  <a:schemeClr val="accent2">
                    <a:tint val="37000"/>
                    <a:satMod val="300000"/>
                  </a:schemeClr>
                </a:gs>
              </a:gsLst>
            </a:gradFill>
            <a:ln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  <a:defRPr/>
              </a:pPr>
              <a:endParaRPr lang="en-US" sz="1100">
                <a:latin typeface="Interstate-Light" pitchFamily="2" charset="0"/>
              </a:endParaRPr>
            </a:p>
          </p:txBody>
        </p:sp>
        <p:sp>
          <p:nvSpPr>
            <p:cNvPr id="126" name="AutoShape 12"/>
            <p:cNvSpPr>
              <a:spLocks noChangeArrowheads="1"/>
            </p:cNvSpPr>
            <p:nvPr/>
          </p:nvSpPr>
          <p:spPr bwMode="auto">
            <a:xfrm>
              <a:off x="2924175" y="2811947"/>
              <a:ext cx="2913200" cy="1723110"/>
            </a:xfrm>
            <a:prstGeom prst="parallelogram">
              <a:avLst>
                <a:gd name="adj" fmla="val 77219"/>
              </a:avLst>
            </a:prstGeom>
            <a:gradFill>
              <a:gsLst>
                <a:gs pos="0">
                  <a:schemeClr val="accent2">
                    <a:tint val="50000"/>
                    <a:satMod val="300000"/>
                    <a:alpha val="70000"/>
                  </a:schemeClr>
                </a:gs>
                <a:gs pos="71000">
                  <a:schemeClr val="accent2">
                    <a:tint val="37000"/>
                    <a:satMod val="300000"/>
                  </a:schemeClr>
                </a:gs>
              </a:gsLst>
            </a:gradFill>
            <a:ln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  <a:defRPr/>
              </a:pPr>
              <a:endParaRPr lang="en-US" sz="1100">
                <a:latin typeface="Interstate-Light" pitchFamily="2" charset="0"/>
              </a:endParaRPr>
            </a:p>
          </p:txBody>
        </p:sp>
        <p:grpSp>
          <p:nvGrpSpPr>
            <p:cNvPr id="116" name="Group 115"/>
            <p:cNvGrpSpPr/>
            <p:nvPr/>
          </p:nvGrpSpPr>
          <p:grpSpPr>
            <a:xfrm>
              <a:off x="5695869" y="2663181"/>
              <a:ext cx="2076615" cy="1118863"/>
              <a:chOff x="5059649" y="3300241"/>
              <a:chExt cx="2076615" cy="1118863"/>
            </a:xfrm>
          </p:grpSpPr>
          <p:pic>
            <p:nvPicPr>
              <p:cNvPr id="261" name="Picture 57" descr="IP phone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6259570" y="3379788"/>
                <a:ext cx="231775" cy="185738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262" name="Picture 58" descr="IP phone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6904489" y="3379788"/>
                <a:ext cx="231775" cy="185738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03" name="Picture 19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059649" y="4191795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04" name="Picture 20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512562" y="4191795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05" name="Picture 21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966905" y="4191795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06" name="Picture 22" descr="router-generic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399552" y="3689038"/>
                <a:ext cx="405765" cy="28592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107" name="Freeform 106"/>
              <p:cNvSpPr/>
              <p:nvPr/>
            </p:nvSpPr>
            <p:spPr>
              <a:xfrm>
                <a:off x="5308750" y="3932113"/>
                <a:ext cx="241348" cy="278739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08" name="Freeform 107"/>
              <p:cNvSpPr/>
              <p:nvPr/>
            </p:nvSpPr>
            <p:spPr>
              <a:xfrm>
                <a:off x="5818347" y="4059599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260" name="Picture 56" descr="voicerouter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6269141" y="3679828"/>
                <a:ext cx="388938" cy="293688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110" name="Freeform 109"/>
              <p:cNvSpPr/>
              <p:nvPr/>
            </p:nvSpPr>
            <p:spPr>
              <a:xfrm>
                <a:off x="6176257" y="3912281"/>
                <a:ext cx="239885" cy="29857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13" name="Freeform 112"/>
              <p:cNvSpPr/>
              <p:nvPr/>
            </p:nvSpPr>
            <p:spPr>
              <a:xfrm>
                <a:off x="6564928" y="3568615"/>
                <a:ext cx="115101" cy="134920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11" name="AutoShape 101"/>
              <p:cNvSpPr>
                <a:spLocks noChangeArrowheads="1"/>
              </p:cNvSpPr>
              <p:nvPr/>
            </p:nvSpPr>
            <p:spPr bwMode="auto">
              <a:xfrm rot="5400000">
                <a:off x="5806023" y="3447451"/>
                <a:ext cx="72000" cy="1260000"/>
              </a:xfrm>
              <a:prstGeom prst="can">
                <a:avLst>
                  <a:gd name="adj" fmla="val 49406"/>
                </a:avLst>
              </a:prstGeom>
              <a:gradFill rotWithShape="1">
                <a:gsLst>
                  <a:gs pos="0">
                    <a:srgbClr val="FF9900"/>
                  </a:gs>
                  <a:gs pos="50000">
                    <a:srgbClr val="FFFF00"/>
                  </a:gs>
                  <a:gs pos="100000">
                    <a:srgbClr val="FF9900"/>
                  </a:gs>
                </a:gsLst>
                <a:lin ang="0" scaled="1"/>
              </a:gradFill>
              <a:ln w="9525">
                <a:solidFill>
                  <a:srgbClr val="F4BF17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15" name="Freeform 114"/>
              <p:cNvSpPr/>
              <p:nvPr/>
            </p:nvSpPr>
            <p:spPr>
              <a:xfrm>
                <a:off x="6483409" y="3472441"/>
                <a:ext cx="427290" cy="0"/>
              </a:xfrm>
              <a:custGeom>
                <a:avLst/>
                <a:gdLst>
                  <a:gd name="connsiteX0" fmla="*/ 0 w 427290"/>
                  <a:gd name="connsiteY0" fmla="*/ 0 h 0"/>
                  <a:gd name="connsiteX1" fmla="*/ 427290 w 42729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27290">
                    <a:moveTo>
                      <a:pt x="0" y="0"/>
                    </a:moveTo>
                    <a:lnTo>
                      <a:pt x="427290" y="0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264" name="Picture 60" descr="ProxyDNS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6577360" y="3300241"/>
                <a:ext cx="246063" cy="3048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</p:grpSp>
        <p:sp>
          <p:nvSpPr>
            <p:cNvPr id="393" name="AutoShape 12"/>
            <p:cNvSpPr>
              <a:spLocks noChangeArrowheads="1"/>
            </p:cNvSpPr>
            <p:nvPr/>
          </p:nvSpPr>
          <p:spPr bwMode="auto">
            <a:xfrm>
              <a:off x="785904" y="2816712"/>
              <a:ext cx="3394120" cy="1723110"/>
            </a:xfrm>
            <a:prstGeom prst="parallelogram">
              <a:avLst>
                <a:gd name="adj" fmla="val 77219"/>
              </a:avLst>
            </a:prstGeom>
            <a:gradFill>
              <a:gsLst>
                <a:gs pos="0">
                  <a:schemeClr val="accent2">
                    <a:tint val="50000"/>
                    <a:satMod val="300000"/>
                    <a:alpha val="70000"/>
                  </a:schemeClr>
                </a:gs>
                <a:gs pos="71000">
                  <a:schemeClr val="accent2">
                    <a:tint val="37000"/>
                    <a:satMod val="300000"/>
                  </a:schemeClr>
                </a:gs>
              </a:gsLst>
            </a:gradFill>
            <a:ln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  <a:defRPr/>
              </a:pPr>
              <a:endParaRPr lang="en-US" sz="1100">
                <a:latin typeface="Interstate-Light" pitchFamily="2" charset="0"/>
              </a:endParaRPr>
            </a:p>
          </p:txBody>
        </p:sp>
        <p:grpSp>
          <p:nvGrpSpPr>
            <p:cNvPr id="362" name="Group 361"/>
            <p:cNvGrpSpPr/>
            <p:nvPr/>
          </p:nvGrpSpPr>
          <p:grpSpPr>
            <a:xfrm>
              <a:off x="2145144" y="2947725"/>
              <a:ext cx="1412374" cy="730066"/>
              <a:chOff x="1696664" y="3241197"/>
              <a:chExt cx="1412374" cy="730066"/>
            </a:xfrm>
          </p:grpSpPr>
          <p:pic>
            <p:nvPicPr>
              <p:cNvPr id="363" name="Picture 19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696664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64" name="Picture 20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49577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65" name="Picture 21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603920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66" name="Picture 22" descr="router-generic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036567" y="3241197"/>
                <a:ext cx="405765" cy="28592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67" name="Freeform 366"/>
              <p:cNvSpPr/>
              <p:nvPr/>
            </p:nvSpPr>
            <p:spPr>
              <a:xfrm>
                <a:off x="1945765" y="3484272"/>
                <a:ext cx="241348" cy="278739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68" name="Freeform 367"/>
              <p:cNvSpPr/>
              <p:nvPr/>
            </p:nvSpPr>
            <p:spPr>
              <a:xfrm>
                <a:off x="2455362" y="3611758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69" name="Freeform 368"/>
              <p:cNvSpPr/>
              <p:nvPr/>
            </p:nvSpPr>
            <p:spPr>
              <a:xfrm>
                <a:off x="2834098" y="3610249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70" name="AutoShape 101"/>
              <p:cNvSpPr>
                <a:spLocks noChangeArrowheads="1"/>
              </p:cNvSpPr>
              <p:nvPr/>
            </p:nvSpPr>
            <p:spPr bwMode="auto">
              <a:xfrm rot="5400000">
                <a:off x="2443038" y="2999610"/>
                <a:ext cx="72000" cy="1260000"/>
              </a:xfrm>
              <a:prstGeom prst="can">
                <a:avLst>
                  <a:gd name="adj" fmla="val 49406"/>
                </a:avLst>
              </a:prstGeom>
              <a:gradFill rotWithShape="1">
                <a:gsLst>
                  <a:gs pos="0">
                    <a:srgbClr val="FF9900"/>
                  </a:gs>
                  <a:gs pos="50000">
                    <a:srgbClr val="FFFF00"/>
                  </a:gs>
                  <a:gs pos="100000">
                    <a:srgbClr val="FF9900"/>
                  </a:gs>
                </a:gsLst>
                <a:lin ang="0" scaled="1"/>
              </a:gradFill>
              <a:ln w="9525">
                <a:solidFill>
                  <a:srgbClr val="F4BF17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sp>
          <p:nvSpPr>
            <p:cNvPr id="19" name="Text Box 23"/>
            <p:cNvSpPr txBox="1">
              <a:spLocks noChangeArrowheads="1"/>
            </p:cNvSpPr>
            <p:nvPr/>
          </p:nvSpPr>
          <p:spPr bwMode="auto">
            <a:xfrm rot="1001590">
              <a:off x="57932" y="4019767"/>
              <a:ext cx="158293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780000" lon="3000000" rev="528000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50000"/>
                </a:spcBef>
                <a:buSzPct val="40000"/>
              </a:pPr>
              <a:r>
                <a:rPr lang="it-IT" sz="1600" dirty="0" smtClean="0">
                  <a:solidFill>
                    <a:srgbClr val="FF0000"/>
                  </a:solidFill>
                  <a:cs typeface="+mn-cs"/>
                </a:rPr>
                <a:t>Customer Sites</a:t>
              </a:r>
            </a:p>
          </p:txBody>
        </p:sp>
        <p:cxnSp>
          <p:nvCxnSpPr>
            <p:cNvPr id="270" name="AutoShape 81"/>
            <p:cNvCxnSpPr>
              <a:cxnSpLocks noChangeShapeType="1"/>
            </p:cNvCxnSpPr>
            <p:nvPr/>
          </p:nvCxnSpPr>
          <p:spPr bwMode="auto">
            <a:xfrm rot="10800000" flipH="1">
              <a:off x="3530600" y="3263151"/>
              <a:ext cx="1965325" cy="1582738"/>
            </a:xfrm>
            <a:prstGeom prst="bentConnector3">
              <a:avLst>
                <a:gd name="adj1" fmla="val -11148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</p:cxnSp>
        <p:grpSp>
          <p:nvGrpSpPr>
            <p:cNvPr id="359" name="Group 358"/>
            <p:cNvGrpSpPr/>
            <p:nvPr/>
          </p:nvGrpSpPr>
          <p:grpSpPr>
            <a:xfrm>
              <a:off x="1278546" y="3479595"/>
              <a:ext cx="1412374" cy="730066"/>
              <a:chOff x="1696664" y="3241197"/>
              <a:chExt cx="1412374" cy="730066"/>
            </a:xfrm>
          </p:grpSpPr>
          <p:pic>
            <p:nvPicPr>
              <p:cNvPr id="349" name="Picture 19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696664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50" name="Picture 20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49577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51" name="Picture 21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603920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52" name="Picture 22" descr="router-generic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036567" y="3241197"/>
                <a:ext cx="405765" cy="28592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54" name="Freeform 353"/>
              <p:cNvSpPr/>
              <p:nvPr/>
            </p:nvSpPr>
            <p:spPr>
              <a:xfrm>
                <a:off x="1945765" y="3484272"/>
                <a:ext cx="241348" cy="278739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56" name="Freeform 355"/>
              <p:cNvSpPr/>
              <p:nvPr/>
            </p:nvSpPr>
            <p:spPr>
              <a:xfrm>
                <a:off x="2455362" y="3611758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57" name="Freeform 356"/>
              <p:cNvSpPr/>
              <p:nvPr/>
            </p:nvSpPr>
            <p:spPr>
              <a:xfrm>
                <a:off x="2834098" y="3610249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55" name="AutoShape 101"/>
              <p:cNvSpPr>
                <a:spLocks noChangeArrowheads="1"/>
              </p:cNvSpPr>
              <p:nvPr/>
            </p:nvSpPr>
            <p:spPr bwMode="auto">
              <a:xfrm rot="5400000">
                <a:off x="2443038" y="2999610"/>
                <a:ext cx="72000" cy="1260000"/>
              </a:xfrm>
              <a:prstGeom prst="can">
                <a:avLst>
                  <a:gd name="adj" fmla="val 49406"/>
                </a:avLst>
              </a:prstGeom>
              <a:gradFill rotWithShape="1">
                <a:gsLst>
                  <a:gs pos="0">
                    <a:srgbClr val="FF9900"/>
                  </a:gs>
                  <a:gs pos="50000">
                    <a:srgbClr val="FFFF00"/>
                  </a:gs>
                  <a:gs pos="100000">
                    <a:srgbClr val="FF9900"/>
                  </a:gs>
                </a:gsLst>
                <a:lin ang="0" scaled="1"/>
              </a:gradFill>
              <a:ln w="9525">
                <a:solidFill>
                  <a:srgbClr val="F4BF17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grpSp>
          <p:nvGrpSpPr>
            <p:cNvPr id="392" name="Group 391"/>
            <p:cNvGrpSpPr/>
            <p:nvPr/>
          </p:nvGrpSpPr>
          <p:grpSpPr>
            <a:xfrm>
              <a:off x="3388295" y="3417762"/>
              <a:ext cx="1626464" cy="803555"/>
              <a:chOff x="2609555" y="3732091"/>
              <a:chExt cx="1626464" cy="803555"/>
            </a:xfrm>
          </p:grpSpPr>
          <p:pic>
            <p:nvPicPr>
              <p:cNvPr id="373" name="Picture 19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609555" y="4308337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74" name="Picture 20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062468" y="4308337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75" name="Picture 21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3516811" y="4308337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76" name="Picture 22" descr="router-generic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949458" y="3805580"/>
                <a:ext cx="405765" cy="28592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77" name="Freeform 376"/>
              <p:cNvSpPr/>
              <p:nvPr/>
            </p:nvSpPr>
            <p:spPr>
              <a:xfrm>
                <a:off x="2858656" y="4048655"/>
                <a:ext cx="241348" cy="278739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78" name="Freeform 377"/>
              <p:cNvSpPr/>
              <p:nvPr/>
            </p:nvSpPr>
            <p:spPr>
              <a:xfrm>
                <a:off x="3368253" y="4176141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pic>
            <p:nvPicPr>
              <p:cNvPr id="384" name="Picture 100" descr="Callmgr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3743894" y="3732091"/>
                <a:ext cx="492125" cy="3429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391" name="Freeform 390"/>
              <p:cNvSpPr/>
              <p:nvPr/>
            </p:nvSpPr>
            <p:spPr>
              <a:xfrm>
                <a:off x="3726164" y="4048655"/>
                <a:ext cx="241348" cy="278739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380" name="AutoShape 101"/>
              <p:cNvSpPr>
                <a:spLocks noChangeArrowheads="1"/>
              </p:cNvSpPr>
              <p:nvPr/>
            </p:nvSpPr>
            <p:spPr bwMode="auto">
              <a:xfrm rot="5400000">
                <a:off x="3355929" y="3563993"/>
                <a:ext cx="72000" cy="1260000"/>
              </a:xfrm>
              <a:prstGeom prst="can">
                <a:avLst>
                  <a:gd name="adj" fmla="val 49406"/>
                </a:avLst>
              </a:prstGeom>
              <a:gradFill rotWithShape="1">
                <a:gsLst>
                  <a:gs pos="0">
                    <a:srgbClr val="FF9900"/>
                  </a:gs>
                  <a:gs pos="50000">
                    <a:srgbClr val="FFFF00"/>
                  </a:gs>
                  <a:gs pos="100000">
                    <a:srgbClr val="FF9900"/>
                  </a:gs>
                </a:gsLst>
                <a:lin ang="0" scaled="1"/>
              </a:gradFill>
              <a:ln w="9525">
                <a:solidFill>
                  <a:srgbClr val="F4BF17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>
              <a:off x="4896084" y="3545150"/>
              <a:ext cx="1412374" cy="730066"/>
              <a:chOff x="1696664" y="3241197"/>
              <a:chExt cx="1412374" cy="730066"/>
            </a:xfrm>
          </p:grpSpPr>
          <p:pic>
            <p:nvPicPr>
              <p:cNvPr id="118" name="Picture 19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696664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19" name="Picture 20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49577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20" name="Picture 21" descr="Phone-IP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603920" y="3743954"/>
                <a:ext cx="404336" cy="227309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121" name="Picture 22" descr="router-generic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036567" y="3241197"/>
                <a:ext cx="405765" cy="285923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sp>
            <p:nvSpPr>
              <p:cNvPr id="122" name="Freeform 121"/>
              <p:cNvSpPr/>
              <p:nvPr/>
            </p:nvSpPr>
            <p:spPr>
              <a:xfrm>
                <a:off x="1945765" y="3484272"/>
                <a:ext cx="241348" cy="278739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23" name="Freeform 122"/>
              <p:cNvSpPr/>
              <p:nvPr/>
            </p:nvSpPr>
            <p:spPr>
              <a:xfrm>
                <a:off x="2455362" y="3611758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24" name="Freeform 123"/>
              <p:cNvSpPr/>
              <p:nvPr/>
            </p:nvSpPr>
            <p:spPr>
              <a:xfrm>
                <a:off x="2834098" y="3610249"/>
                <a:ext cx="131762" cy="154451"/>
              </a:xfrm>
              <a:custGeom>
                <a:avLst/>
                <a:gdLst>
                  <a:gd name="connsiteX0" fmla="*/ 224351 w 224351"/>
                  <a:gd name="connsiteY0" fmla="*/ 0 h 336527"/>
                  <a:gd name="connsiteX1" fmla="*/ 0 w 224351"/>
                  <a:gd name="connsiteY1" fmla="*/ 336527 h 336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24351" h="336527">
                    <a:moveTo>
                      <a:pt x="224351" y="0"/>
                    </a:moveTo>
                    <a:lnTo>
                      <a:pt x="0" y="336527"/>
                    </a:lnTo>
                  </a:path>
                </a:pathLst>
              </a:custGeom>
              <a:ln w="25400">
                <a:solidFill>
                  <a:srgbClr val="0070C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125" name="AutoShape 101"/>
              <p:cNvSpPr>
                <a:spLocks noChangeArrowheads="1"/>
              </p:cNvSpPr>
              <p:nvPr/>
            </p:nvSpPr>
            <p:spPr bwMode="auto">
              <a:xfrm rot="5400000">
                <a:off x="2443038" y="2999610"/>
                <a:ext cx="72000" cy="1260000"/>
              </a:xfrm>
              <a:prstGeom prst="can">
                <a:avLst>
                  <a:gd name="adj" fmla="val 49406"/>
                </a:avLst>
              </a:prstGeom>
              <a:gradFill rotWithShape="1">
                <a:gsLst>
                  <a:gs pos="0">
                    <a:srgbClr val="FF9900"/>
                  </a:gs>
                  <a:gs pos="50000">
                    <a:srgbClr val="FFFF00"/>
                  </a:gs>
                  <a:gs pos="100000">
                    <a:srgbClr val="FF9900"/>
                  </a:gs>
                </a:gsLst>
                <a:lin ang="0" scaled="1"/>
              </a:gradFill>
              <a:ln w="9525">
                <a:solidFill>
                  <a:srgbClr val="F4BF17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sp>
          <p:nvSpPr>
            <p:cNvPr id="128" name="Text Box 23"/>
            <p:cNvSpPr txBox="1">
              <a:spLocks noChangeArrowheads="1"/>
            </p:cNvSpPr>
            <p:nvPr/>
          </p:nvSpPr>
          <p:spPr bwMode="auto">
            <a:xfrm>
              <a:off x="821958" y="4238514"/>
              <a:ext cx="134684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1800000" lon="18600000" rev="1968000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50000"/>
                </a:spcBef>
                <a:buSzPct val="40000"/>
              </a:pPr>
              <a:r>
                <a:rPr lang="it-IT" sz="1600" dirty="0" smtClean="0">
                  <a:solidFill>
                    <a:srgbClr val="FF0000"/>
                  </a:solidFill>
                  <a:cs typeface="+mn-cs"/>
                </a:rPr>
                <a:t>Managed UC</a:t>
              </a:r>
            </a:p>
          </p:txBody>
        </p:sp>
        <p:sp>
          <p:nvSpPr>
            <p:cNvPr id="129" name="Text Box 23"/>
            <p:cNvSpPr txBox="1">
              <a:spLocks noChangeArrowheads="1"/>
            </p:cNvSpPr>
            <p:nvPr/>
          </p:nvSpPr>
          <p:spPr bwMode="auto">
            <a:xfrm>
              <a:off x="2928664" y="4247474"/>
              <a:ext cx="139993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1800000" lon="18600000" rev="1968000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50000"/>
                </a:spcBef>
                <a:buSzPct val="40000"/>
              </a:pPr>
              <a:r>
                <a:rPr lang="it-IT" sz="1600" dirty="0" smtClean="0">
                  <a:solidFill>
                    <a:srgbClr val="FF0000"/>
                  </a:solidFill>
                  <a:cs typeface="+mn-cs"/>
                </a:rPr>
                <a:t>Customer UC</a:t>
              </a:r>
            </a:p>
          </p:txBody>
        </p:sp>
        <p:sp>
          <p:nvSpPr>
            <p:cNvPr id="130" name="Text Box 23"/>
            <p:cNvSpPr txBox="1">
              <a:spLocks noChangeArrowheads="1"/>
            </p:cNvSpPr>
            <p:nvPr/>
          </p:nvSpPr>
          <p:spPr bwMode="auto">
            <a:xfrm>
              <a:off x="4560243" y="4247469"/>
              <a:ext cx="1323696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1800000" lon="18600000" rev="19680000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50000"/>
                </a:spcBef>
                <a:buSzPct val="40000"/>
              </a:pPr>
              <a:r>
                <a:rPr lang="it-IT" sz="1600" dirty="0" smtClean="0">
                  <a:solidFill>
                    <a:srgbClr val="FF0000"/>
                  </a:solidFill>
                  <a:cs typeface="+mn-cs"/>
                </a:rPr>
                <a:t>IP Centrex</a:t>
              </a:r>
              <a:r>
                <a:rPr lang="it-IT" sz="1600" baseline="30000" dirty="0" smtClean="0">
                  <a:solidFill>
                    <a:srgbClr val="FF0000"/>
                  </a:solidFill>
                  <a:cs typeface="+mn-cs"/>
                </a:rPr>
                <a:t>TM</a:t>
              </a:r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833523" y="880405"/>
            <a:ext cx="7856538" cy="2544109"/>
            <a:chOff x="295389" y="996950"/>
            <a:chExt cx="7856538" cy="2544109"/>
          </a:xfrm>
        </p:grpSpPr>
        <p:grpSp>
          <p:nvGrpSpPr>
            <p:cNvPr id="147" name="Group 146"/>
            <p:cNvGrpSpPr/>
            <p:nvPr/>
          </p:nvGrpSpPr>
          <p:grpSpPr>
            <a:xfrm>
              <a:off x="295389" y="996950"/>
              <a:ext cx="7856538" cy="2544109"/>
              <a:chOff x="295389" y="996950"/>
              <a:chExt cx="7856538" cy="2544109"/>
            </a:xfrm>
          </p:grpSpPr>
          <p:grpSp>
            <p:nvGrpSpPr>
              <p:cNvPr id="142" name="Group 141"/>
              <p:cNvGrpSpPr/>
              <p:nvPr/>
            </p:nvGrpSpPr>
            <p:grpSpPr>
              <a:xfrm>
                <a:off x="295389" y="996950"/>
                <a:ext cx="7856538" cy="2544109"/>
                <a:chOff x="295389" y="996950"/>
                <a:chExt cx="7856538" cy="2544109"/>
              </a:xfrm>
            </p:grpSpPr>
            <p:sp>
              <p:nvSpPr>
                <p:cNvPr id="79" name="Line 339"/>
                <p:cNvSpPr>
                  <a:spLocks noChangeShapeType="1"/>
                </p:cNvSpPr>
                <p:nvPr/>
              </p:nvSpPr>
              <p:spPr bwMode="auto">
                <a:xfrm>
                  <a:off x="5764306" y="2375647"/>
                  <a:ext cx="457200" cy="681319"/>
                </a:xfrm>
                <a:prstGeom prst="line">
                  <a:avLst/>
                </a:prstGeom>
                <a:noFill/>
                <a:ln w="19050" algn="ctr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 sz="1100">
                    <a:cs typeface="+mn-cs"/>
                  </a:endParaRPr>
                </a:p>
              </p:txBody>
            </p:sp>
            <p:sp>
              <p:nvSpPr>
                <p:cNvPr id="82" name="Line 401"/>
                <p:cNvSpPr>
                  <a:spLocks noChangeShapeType="1"/>
                </p:cNvSpPr>
                <p:nvPr/>
              </p:nvSpPr>
              <p:spPr bwMode="auto">
                <a:xfrm flipH="1">
                  <a:off x="1819834" y="2351314"/>
                  <a:ext cx="139593" cy="1144921"/>
                </a:xfrm>
                <a:prstGeom prst="line">
                  <a:avLst/>
                </a:prstGeom>
                <a:noFill/>
                <a:ln w="19050" algn="ctr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 sz="1100">
                    <a:cs typeface="+mn-cs"/>
                  </a:endParaRPr>
                </a:p>
              </p:txBody>
            </p:sp>
            <p:sp>
              <p:nvSpPr>
                <p:cNvPr id="83" name="Line 316"/>
                <p:cNvSpPr>
                  <a:spLocks noChangeShapeType="1"/>
                </p:cNvSpPr>
                <p:nvPr/>
              </p:nvSpPr>
              <p:spPr bwMode="auto">
                <a:xfrm flipH="1">
                  <a:off x="5441576" y="2357718"/>
                  <a:ext cx="206188" cy="1183341"/>
                </a:xfrm>
                <a:prstGeom prst="line">
                  <a:avLst/>
                </a:prstGeom>
                <a:noFill/>
                <a:ln w="19050" algn="ctr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 sz="1100">
                    <a:cs typeface="+mn-cs"/>
                  </a:endParaRPr>
                </a:p>
              </p:txBody>
            </p:sp>
            <p:sp>
              <p:nvSpPr>
                <p:cNvPr id="84" name="Line 317"/>
                <p:cNvSpPr>
                  <a:spLocks noChangeShapeType="1"/>
                </p:cNvSpPr>
                <p:nvPr/>
              </p:nvSpPr>
              <p:spPr bwMode="auto">
                <a:xfrm flipH="1">
                  <a:off x="3989292" y="2366682"/>
                  <a:ext cx="627532" cy="1156447"/>
                </a:xfrm>
                <a:prstGeom prst="line">
                  <a:avLst/>
                </a:prstGeom>
                <a:noFill/>
                <a:ln w="19050" algn="ctr">
                  <a:solidFill>
                    <a:srgbClr val="C00000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 sz="1100">
                    <a:cs typeface="+mn-cs"/>
                  </a:endParaRPr>
                </a:p>
              </p:txBody>
            </p:sp>
            <p:cxnSp>
              <p:nvCxnSpPr>
                <p:cNvPr id="223" name="AutoShape 80"/>
                <p:cNvCxnSpPr>
                  <a:cxnSpLocks noChangeShapeType="1"/>
                </p:cNvCxnSpPr>
                <p:nvPr/>
              </p:nvCxnSpPr>
              <p:spPr bwMode="auto">
                <a:xfrm rot="16200000" flipV="1">
                  <a:off x="3606800" y="962025"/>
                  <a:ext cx="2020888" cy="2090737"/>
                </a:xfrm>
                <a:prstGeom prst="bentConnector3">
                  <a:avLst>
                    <a:gd name="adj1" fmla="val -11231"/>
                  </a:avLst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cxnSp>
            <p:cxnSp>
              <p:nvCxnSpPr>
                <p:cNvPr id="389" name="Straight Connector 388"/>
                <p:cNvCxnSpPr>
                  <a:stCxn id="366" idx="0"/>
                </p:cNvCxnSpPr>
                <p:nvPr/>
              </p:nvCxnSpPr>
              <p:spPr>
                <a:xfrm rot="16200000" flipV="1">
                  <a:off x="2138050" y="2397844"/>
                  <a:ext cx="581039" cy="518723"/>
                </a:xfrm>
                <a:prstGeom prst="line">
                  <a:avLst/>
                </a:prstGeom>
                <a:noFill/>
                <a:ln w="19050" algn="ctr">
                  <a:solidFill>
                    <a:srgbClr val="C00000"/>
                  </a:solidFill>
                  <a:round/>
                  <a:headEnd/>
                  <a:tailEnd/>
                </a:ln>
              </p:spPr>
            </p:cxnSp>
            <p:sp>
              <p:nvSpPr>
                <p:cNvPr id="92" name="AutoShape 12"/>
                <p:cNvSpPr>
                  <a:spLocks noChangeArrowheads="1"/>
                </p:cNvSpPr>
                <p:nvPr/>
              </p:nvSpPr>
              <p:spPr bwMode="auto">
                <a:xfrm>
                  <a:off x="295389" y="1289142"/>
                  <a:ext cx="7856538" cy="1665288"/>
                </a:xfrm>
                <a:prstGeom prst="parallelogram">
                  <a:avLst>
                    <a:gd name="adj" fmla="val 77219"/>
                  </a:avLst>
                </a:prstGeom>
                <a:gradFill>
                  <a:gsLst>
                    <a:gs pos="65000">
                      <a:schemeClr val="accent3">
                        <a:tint val="50000"/>
                        <a:satMod val="300000"/>
                      </a:schemeClr>
                    </a:gs>
                    <a:gs pos="0">
                      <a:schemeClr val="accent3">
                        <a:tint val="37000"/>
                        <a:satMod val="300000"/>
                        <a:alpha val="62000"/>
                      </a:schemeClr>
                    </a:gs>
                  </a:gsLst>
                </a:gradFill>
                <a:ln>
                  <a:headEnd type="none" w="med" len="med"/>
                  <a:tailEnd type="none" w="med" len="med"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  <a:defRPr/>
                  </a:pPr>
                  <a:endParaRPr lang="en-US" sz="1100">
                    <a:solidFill>
                      <a:schemeClr val="tx1"/>
                    </a:solidFill>
                    <a:latin typeface="Interstate-Light" pitchFamily="2" charset="0"/>
                  </a:endParaRPr>
                </a:p>
              </p:txBody>
            </p:sp>
            <p:sp>
              <p:nvSpPr>
                <p:cNvPr id="360" name="AutoShape 12"/>
                <p:cNvSpPr>
                  <a:spLocks noChangeArrowheads="1"/>
                </p:cNvSpPr>
                <p:nvPr/>
              </p:nvSpPr>
              <p:spPr bwMode="auto">
                <a:xfrm>
                  <a:off x="1075174" y="1396720"/>
                  <a:ext cx="3727939" cy="1376625"/>
                </a:xfrm>
                <a:prstGeom prst="parallelogram">
                  <a:avLst>
                    <a:gd name="adj" fmla="val 77219"/>
                  </a:avLst>
                </a:prstGeom>
                <a:gradFill>
                  <a:gsLst>
                    <a:gs pos="65000">
                      <a:schemeClr val="accent3">
                        <a:tint val="50000"/>
                        <a:satMod val="300000"/>
                      </a:schemeClr>
                    </a:gs>
                    <a:gs pos="0">
                      <a:schemeClr val="accent3">
                        <a:tint val="37000"/>
                        <a:satMod val="300000"/>
                        <a:alpha val="9000"/>
                      </a:schemeClr>
                    </a:gs>
                  </a:gsLst>
                </a:gradFill>
                <a:ln>
                  <a:headEnd type="none" w="med" len="med"/>
                  <a:tailEnd type="none" w="med" len="med"/>
                </a:ln>
                <a:scene3d>
                  <a:camera prst="orthographicFront"/>
                  <a:lightRig rig="threePt" dir="t"/>
                </a:scene3d>
                <a:sp3d>
                  <a:bevelT h="25400"/>
                </a:sp3d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  <a:defRPr/>
                  </a:pPr>
                  <a:endParaRPr lang="en-US" sz="1100">
                    <a:solidFill>
                      <a:schemeClr val="tx1"/>
                    </a:solidFill>
                    <a:latin typeface="Interstate-Light" pitchFamily="2" charset="0"/>
                  </a:endParaRPr>
                </a:p>
              </p:txBody>
            </p:sp>
            <p:grpSp>
              <p:nvGrpSpPr>
                <p:cNvPr id="390" name="Group 389"/>
                <p:cNvGrpSpPr/>
                <p:nvPr/>
              </p:nvGrpSpPr>
              <p:grpSpPr>
                <a:xfrm>
                  <a:off x="1793895" y="1539875"/>
                  <a:ext cx="2326078" cy="914400"/>
                  <a:chOff x="1793895" y="1539875"/>
                  <a:chExt cx="2326078" cy="914400"/>
                </a:xfrm>
              </p:grpSpPr>
              <p:pic>
                <p:nvPicPr>
                  <p:cNvPr id="279" name="Picture 100" descr="Callmgr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auto">
                  <a:xfrm>
                    <a:off x="2643598" y="1539875"/>
                    <a:ext cx="492125" cy="342900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  <p:pic>
                <p:nvPicPr>
                  <p:cNvPr id="281" name="Picture 102" descr="Callmgr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auto">
                  <a:xfrm>
                    <a:off x="3135723" y="1541463"/>
                    <a:ext cx="492125" cy="342900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  <p:pic>
                <p:nvPicPr>
                  <p:cNvPr id="282" name="Picture 103" descr="Callmgr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auto">
                  <a:xfrm>
                    <a:off x="3627848" y="1543050"/>
                    <a:ext cx="492125" cy="342900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  <p:sp>
                <p:nvSpPr>
                  <p:cNvPr id="337" name="Freeform 336"/>
                  <p:cNvSpPr/>
                  <p:nvPr/>
                </p:nvSpPr>
                <p:spPr>
                  <a:xfrm>
                    <a:off x="2594839" y="1842397"/>
                    <a:ext cx="241348" cy="278739"/>
                  </a:xfrm>
                  <a:custGeom>
                    <a:avLst/>
                    <a:gdLst>
                      <a:gd name="connsiteX0" fmla="*/ 224351 w 224351"/>
                      <a:gd name="connsiteY0" fmla="*/ 0 h 336527"/>
                      <a:gd name="connsiteX1" fmla="*/ 0 w 224351"/>
                      <a:gd name="connsiteY1" fmla="*/ 336527 h 336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351" h="336527">
                        <a:moveTo>
                          <a:pt x="224351" y="0"/>
                        </a:moveTo>
                        <a:lnTo>
                          <a:pt x="0" y="336527"/>
                        </a:lnTo>
                      </a:path>
                    </a:pathLst>
                  </a:custGeom>
                  <a:ln w="25400">
                    <a:solidFill>
                      <a:srgbClr val="0070C0"/>
                    </a:solidFill>
                  </a:ln>
                  <a:scene3d>
                    <a:camera prst="orthographicFront"/>
                    <a:lightRig rig="threePt" dir="t"/>
                  </a:scene3d>
                  <a:sp3d>
                    <a:bevelT/>
                    <a:bevelB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338" name="Freeform 337"/>
                  <p:cNvSpPr/>
                  <p:nvPr/>
                </p:nvSpPr>
                <p:spPr>
                  <a:xfrm>
                    <a:off x="3097362" y="1835032"/>
                    <a:ext cx="241348" cy="278739"/>
                  </a:xfrm>
                  <a:custGeom>
                    <a:avLst/>
                    <a:gdLst>
                      <a:gd name="connsiteX0" fmla="*/ 224351 w 224351"/>
                      <a:gd name="connsiteY0" fmla="*/ 0 h 336527"/>
                      <a:gd name="connsiteX1" fmla="*/ 0 w 224351"/>
                      <a:gd name="connsiteY1" fmla="*/ 336527 h 336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351" h="336527">
                        <a:moveTo>
                          <a:pt x="224351" y="0"/>
                        </a:moveTo>
                        <a:lnTo>
                          <a:pt x="0" y="336527"/>
                        </a:lnTo>
                      </a:path>
                    </a:pathLst>
                  </a:custGeom>
                  <a:ln w="25400">
                    <a:solidFill>
                      <a:srgbClr val="0070C0"/>
                    </a:solidFill>
                  </a:ln>
                  <a:scene3d>
                    <a:camera prst="orthographicFront"/>
                    <a:lightRig rig="threePt" dir="t"/>
                  </a:scene3d>
                  <a:sp3d>
                    <a:bevelT/>
                    <a:bevelB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339" name="Freeform 338"/>
                  <p:cNvSpPr/>
                  <p:nvPr/>
                </p:nvSpPr>
                <p:spPr>
                  <a:xfrm>
                    <a:off x="3576658" y="1848629"/>
                    <a:ext cx="241348" cy="278739"/>
                  </a:xfrm>
                  <a:custGeom>
                    <a:avLst/>
                    <a:gdLst>
                      <a:gd name="connsiteX0" fmla="*/ 224351 w 224351"/>
                      <a:gd name="connsiteY0" fmla="*/ 0 h 336527"/>
                      <a:gd name="connsiteX1" fmla="*/ 0 w 224351"/>
                      <a:gd name="connsiteY1" fmla="*/ 336527 h 336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351" h="336527">
                        <a:moveTo>
                          <a:pt x="224351" y="0"/>
                        </a:moveTo>
                        <a:lnTo>
                          <a:pt x="0" y="336527"/>
                        </a:lnTo>
                      </a:path>
                    </a:pathLst>
                  </a:custGeom>
                  <a:ln w="25400">
                    <a:solidFill>
                      <a:srgbClr val="0070C0"/>
                    </a:solidFill>
                  </a:ln>
                  <a:scene3d>
                    <a:camera prst="orthographicFront"/>
                    <a:lightRig rig="threePt" dir="t"/>
                  </a:scene3d>
                  <a:sp3d>
                    <a:bevelT/>
                    <a:bevelB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pic>
                <p:nvPicPr>
                  <p:cNvPr id="283" name="Picture 104" descr="Callmgr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auto">
                  <a:xfrm>
                    <a:off x="2348323" y="2111375"/>
                    <a:ext cx="492125" cy="342900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  <p:pic>
                <p:nvPicPr>
                  <p:cNvPr id="284" name="Picture 105" descr="Callmgr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auto">
                  <a:xfrm>
                    <a:off x="2816636" y="2109788"/>
                    <a:ext cx="492125" cy="342900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  <p:pic>
                <p:nvPicPr>
                  <p:cNvPr id="285" name="Picture 106" descr="Callmgr"/>
                  <p:cNvPicPr>
                    <a:picLocks noChangeAspect="1" noChangeArrowheads="1"/>
                  </p:cNvPicPr>
                  <p:nvPr/>
                </p:nvPicPr>
                <p:blipFill>
                  <a:blip r:embed="rId8" cstate="print"/>
                  <a:srcRect/>
                  <a:stretch>
                    <a:fillRect/>
                  </a:stretch>
                </p:blipFill>
                <p:spPr bwMode="auto">
                  <a:xfrm>
                    <a:off x="3308761" y="2111375"/>
                    <a:ext cx="492125" cy="342900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  <p:sp>
                <p:nvSpPr>
                  <p:cNvPr id="341" name="Freeform 340"/>
                  <p:cNvSpPr/>
                  <p:nvPr/>
                </p:nvSpPr>
                <p:spPr>
                  <a:xfrm>
                    <a:off x="2026547" y="1995714"/>
                    <a:ext cx="131762" cy="154451"/>
                  </a:xfrm>
                  <a:custGeom>
                    <a:avLst/>
                    <a:gdLst>
                      <a:gd name="connsiteX0" fmla="*/ 224351 w 224351"/>
                      <a:gd name="connsiteY0" fmla="*/ 0 h 336527"/>
                      <a:gd name="connsiteX1" fmla="*/ 0 w 224351"/>
                      <a:gd name="connsiteY1" fmla="*/ 336527 h 336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351" h="336527">
                        <a:moveTo>
                          <a:pt x="224351" y="0"/>
                        </a:moveTo>
                        <a:lnTo>
                          <a:pt x="0" y="336527"/>
                        </a:lnTo>
                      </a:path>
                    </a:pathLst>
                  </a:custGeom>
                  <a:ln w="25400">
                    <a:solidFill>
                      <a:srgbClr val="0070C0"/>
                    </a:solidFill>
                  </a:ln>
                  <a:scene3d>
                    <a:camera prst="orthographicFront"/>
                    <a:lightRig rig="threePt" dir="t"/>
                  </a:scene3d>
                  <a:sp3d>
                    <a:bevelT/>
                    <a:bevelB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280" name="AutoShape 101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2920885" y="957281"/>
                    <a:ext cx="72000" cy="2016000"/>
                  </a:xfrm>
                  <a:prstGeom prst="can">
                    <a:avLst>
                      <a:gd name="adj" fmla="val 49406"/>
                    </a:avLst>
                  </a:prstGeom>
                  <a:gradFill rotWithShape="1">
                    <a:gsLst>
                      <a:gs pos="0">
                        <a:srgbClr val="FF9900"/>
                      </a:gs>
                      <a:gs pos="50000">
                        <a:srgbClr val="FFFF00"/>
                      </a:gs>
                      <a:gs pos="100000">
                        <a:srgbClr val="FF9900"/>
                      </a:gs>
                    </a:gsLst>
                    <a:lin ang="0" scaled="1"/>
                  </a:gradFill>
                  <a:ln w="9525">
                    <a:solidFill>
                      <a:srgbClr val="F4BF17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pic>
                <p:nvPicPr>
                  <p:cNvPr id="385" name="Picture 22" descr="router-generic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/>
                  <a:srcRect/>
                  <a:stretch>
                    <a:fillRect/>
                  </a:stretch>
                </p:blipFill>
                <p:spPr bwMode="auto">
                  <a:xfrm>
                    <a:off x="1793895" y="2107409"/>
                    <a:ext cx="405765" cy="285923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</p:grpSp>
            <p:sp>
              <p:nvSpPr>
                <p:cNvPr id="97" name="Text Box 23"/>
                <p:cNvSpPr txBox="1">
                  <a:spLocks noChangeArrowheads="1"/>
                </p:cNvSpPr>
                <p:nvPr/>
              </p:nvSpPr>
              <p:spPr bwMode="auto">
                <a:xfrm rot="972841">
                  <a:off x="355629" y="2095363"/>
                  <a:ext cx="1390252" cy="3385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>
                    <a:rot lat="840000" lon="3000000" rev="5280000"/>
                  </a:camera>
                  <a:lightRig rig="threePt" dir="t"/>
                </a:scene3d>
              </p:spPr>
              <p:txBody>
                <a:bodyPr wrap="none">
                  <a:spAutoFit/>
                </a:bodyPr>
                <a:lstStyle/>
                <a:p>
                  <a:pPr eaLnBrk="0" hangingPunct="0">
                    <a:spcBef>
                      <a:spcPct val="50000"/>
                    </a:spcBef>
                    <a:buSzPct val="40000"/>
                  </a:pPr>
                  <a:r>
                    <a:rPr lang="it-IT" sz="1600" dirty="0" smtClean="0">
                      <a:solidFill>
                        <a:srgbClr val="FF0000"/>
                      </a:solidFill>
                      <a:cs typeface="+mn-cs"/>
                    </a:rPr>
                    <a:t>Data Centre  </a:t>
                  </a:r>
                </a:p>
              </p:txBody>
            </p:sp>
            <p:sp>
              <p:nvSpPr>
                <p:cNvPr id="395" name="Text Box 23"/>
                <p:cNvSpPr txBox="1">
                  <a:spLocks noChangeArrowheads="1"/>
                </p:cNvSpPr>
                <p:nvPr/>
              </p:nvSpPr>
              <p:spPr bwMode="auto">
                <a:xfrm>
                  <a:off x="1153652" y="2454536"/>
                  <a:ext cx="1152688" cy="3385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>
                    <a:rot lat="1800000" lon="18600000" rev="19680000"/>
                  </a:camera>
                  <a:lightRig rig="threePt" dir="t"/>
                </a:scene3d>
              </p:spPr>
              <p:txBody>
                <a:bodyPr wrap="none">
                  <a:spAutoFit/>
                </a:bodyPr>
                <a:lstStyle/>
                <a:p>
                  <a:pPr eaLnBrk="0" hangingPunct="0">
                    <a:spcBef>
                      <a:spcPct val="50000"/>
                    </a:spcBef>
                    <a:buSzPct val="40000"/>
                  </a:pPr>
                  <a:r>
                    <a:rPr lang="it-IT" sz="1600" dirty="0" smtClean="0">
                      <a:solidFill>
                        <a:srgbClr val="FF0000"/>
                      </a:solidFill>
                      <a:cs typeface="+mn-cs"/>
                    </a:rPr>
                    <a:t>Hosted UC</a:t>
                  </a:r>
                </a:p>
              </p:txBody>
            </p:sp>
            <p:sp>
              <p:nvSpPr>
                <p:cNvPr id="396" name="AutoShape 12"/>
                <p:cNvSpPr>
                  <a:spLocks noChangeArrowheads="1"/>
                </p:cNvSpPr>
                <p:nvPr/>
              </p:nvSpPr>
              <p:spPr bwMode="auto">
                <a:xfrm>
                  <a:off x="3865340" y="1390094"/>
                  <a:ext cx="4050494" cy="1376625"/>
                </a:xfrm>
                <a:prstGeom prst="parallelogram">
                  <a:avLst>
                    <a:gd name="adj" fmla="val 77219"/>
                  </a:avLst>
                </a:prstGeom>
                <a:gradFill>
                  <a:gsLst>
                    <a:gs pos="65000">
                      <a:schemeClr val="accent3">
                        <a:tint val="50000"/>
                        <a:satMod val="300000"/>
                      </a:schemeClr>
                    </a:gs>
                    <a:gs pos="0">
                      <a:schemeClr val="accent3">
                        <a:tint val="37000"/>
                        <a:satMod val="300000"/>
                        <a:alpha val="9000"/>
                      </a:schemeClr>
                    </a:gs>
                  </a:gsLst>
                </a:gradFill>
                <a:ln>
                  <a:headEnd type="none" w="med" len="med"/>
                  <a:tailEnd type="none" w="med" len="med"/>
                </a:ln>
                <a:scene3d>
                  <a:camera prst="orthographicFront"/>
                  <a:lightRig rig="threePt" dir="t"/>
                </a:scene3d>
                <a:sp3d>
                  <a:bevelT h="25400"/>
                </a:sp3d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  <a:defRPr/>
                  </a:pPr>
                  <a:endParaRPr lang="en-US" sz="1100">
                    <a:solidFill>
                      <a:schemeClr val="tx1"/>
                    </a:solidFill>
                    <a:latin typeface="Interstate-Light" pitchFamily="2" charset="0"/>
                  </a:endParaRPr>
                </a:p>
              </p:txBody>
            </p:sp>
            <p:grpSp>
              <p:nvGrpSpPr>
                <p:cNvPr id="138" name="Group 137"/>
                <p:cNvGrpSpPr/>
                <p:nvPr/>
              </p:nvGrpSpPr>
              <p:grpSpPr>
                <a:xfrm>
                  <a:off x="4483307" y="1106567"/>
                  <a:ext cx="2441629" cy="1278329"/>
                  <a:chOff x="4519167" y="1106567"/>
                  <a:chExt cx="2441629" cy="1278329"/>
                </a:xfrm>
              </p:grpSpPr>
              <p:grpSp>
                <p:nvGrpSpPr>
                  <p:cNvPr id="400" name="Group 59"/>
                  <p:cNvGrpSpPr>
                    <a:grpSpLocks noChangeAspect="1"/>
                  </p:cNvGrpSpPr>
                  <p:nvPr/>
                </p:nvGrpSpPr>
                <p:grpSpPr>
                  <a:xfrm>
                    <a:off x="4716431" y="1106567"/>
                    <a:ext cx="931998" cy="724130"/>
                    <a:chOff x="4342343" y="1377213"/>
                    <a:chExt cx="1054409" cy="846035"/>
                  </a:xfrm>
                  <a:effectLst>
                    <a:reflection blurRad="6350" stA="52000" endA="300" endPos="35000" dir="5400000" sy="-100000" algn="bl" rotWithShape="0"/>
                  </a:effectLst>
                </p:grpSpPr>
                <p:sp>
                  <p:nvSpPr>
                    <p:cNvPr id="407" name="AutoShape 14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342343" y="1377213"/>
                      <a:ext cx="1004200" cy="846035"/>
                    </a:xfrm>
                    <a:prstGeom prst="triangle">
                      <a:avLst>
                        <a:gd name="adj" fmla="val 50000"/>
                      </a:avLst>
                    </a:prstGeom>
                    <a:gradFill rotWithShape="0">
                      <a:gsLst>
                        <a:gs pos="10000">
                          <a:srgbClr val="996600"/>
                        </a:gs>
                        <a:gs pos="48000">
                          <a:srgbClr val="FFCC66"/>
                        </a:gs>
                        <a:gs pos="87000">
                          <a:srgbClr val="FFFF99"/>
                        </a:gs>
                      </a:gsLst>
                      <a:lin ang="5400000" scaled="0"/>
                    </a:gradFill>
                    <a:ln w="6350">
                      <a:noFill/>
                      <a:miter lim="800000"/>
                      <a:headEnd/>
                      <a:tailEnd/>
                    </a:ln>
                    <a:effectLst/>
                    <a:scene3d>
                      <a:camera prst="orthographicFront"/>
                      <a:lightRig rig="threePt" dir="t"/>
                    </a:scene3d>
                    <a:sp3d>
                      <a:bevelT/>
                    </a:sp3d>
                  </p:spPr>
                  <p:txBody>
                    <a:bodyPr lIns="0" tIns="0" rIns="0" bIns="0" anchor="ctr">
                      <a:noAutofit/>
                    </a:bodyPr>
                    <a:lstStyle/>
                    <a:p>
                      <a:pPr algn="ctr"/>
                      <a:r>
                        <a:rPr lang="it-IT" sz="700" dirty="0" smtClean="0"/>
                        <a:t>CLASS 5</a:t>
                      </a:r>
                      <a:endParaRPr lang="it-IT" sz="700" dirty="0"/>
                    </a:p>
                  </p:txBody>
                </p:sp>
                <p:sp>
                  <p:nvSpPr>
                    <p:cNvPr id="408" name="Freeform 14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844443" y="1377213"/>
                      <a:ext cx="552309" cy="84603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440" y="460"/>
                        </a:cxn>
                        <a:cxn ang="0">
                          <a:pos x="402" y="832"/>
                        </a:cxn>
                      </a:cxnLst>
                      <a:rect l="0" t="0" r="r" b="b"/>
                      <a:pathLst>
                        <a:path w="440" h="832">
                          <a:moveTo>
                            <a:pt x="0" y="0"/>
                          </a:moveTo>
                          <a:lnTo>
                            <a:pt x="440" y="460"/>
                          </a:lnTo>
                          <a:lnTo>
                            <a:pt x="402" y="832"/>
                          </a:lnTo>
                        </a:path>
                      </a:pathLst>
                    </a:custGeom>
                    <a:gradFill rotWithShape="0">
                      <a:gsLst>
                        <a:gs pos="31000">
                          <a:srgbClr val="996600"/>
                        </a:gs>
                        <a:gs pos="47000">
                          <a:srgbClr val="FFCC66"/>
                        </a:gs>
                      </a:gsLst>
                      <a:lin ang="420000" scaled="0"/>
                    </a:gradFill>
                    <a:ln w="6350">
                      <a:noFill/>
                      <a:miter lim="800000"/>
                      <a:headEnd/>
                      <a:tailEnd/>
                    </a:ln>
                    <a:effectLst/>
                    <a:scene3d>
                      <a:camera prst="orthographicFront"/>
                      <a:lightRig rig="threePt" dir="t"/>
                    </a:scene3d>
                    <a:sp3d>
                      <a:bevelT/>
                    </a:sp3d>
                  </p:spPr>
                  <p:txBody>
                    <a:bodyPr anchor="ctr">
                      <a:noAutofit/>
                    </a:bodyPr>
                    <a:lstStyle/>
                    <a:p>
                      <a:endParaRPr lang="it-IT" sz="1000">
                        <a:latin typeface="+mn-lt"/>
                      </a:endParaRPr>
                    </a:p>
                  </p:txBody>
                </p:sp>
              </p:grpSp>
              <p:grpSp>
                <p:nvGrpSpPr>
                  <p:cNvPr id="402" name="Group 87"/>
                  <p:cNvGrpSpPr>
                    <a:grpSpLocks noChangeAspect="1"/>
                  </p:cNvGrpSpPr>
                  <p:nvPr/>
                </p:nvGrpSpPr>
                <p:grpSpPr>
                  <a:xfrm>
                    <a:off x="5644511" y="1106567"/>
                    <a:ext cx="931998" cy="724130"/>
                    <a:chOff x="4342343" y="1377213"/>
                    <a:chExt cx="1054409" cy="846035"/>
                  </a:xfrm>
                  <a:effectLst>
                    <a:reflection blurRad="6350" stA="52000" endA="300" endPos="35000" dir="5400000" sy="-100000" algn="bl" rotWithShape="0"/>
                  </a:effectLst>
                </p:grpSpPr>
                <p:sp>
                  <p:nvSpPr>
                    <p:cNvPr id="403" name="AutoShape 142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4342343" y="1377213"/>
                      <a:ext cx="1004200" cy="846035"/>
                    </a:xfrm>
                    <a:prstGeom prst="triangle">
                      <a:avLst>
                        <a:gd name="adj" fmla="val 50000"/>
                      </a:avLst>
                    </a:prstGeom>
                    <a:gradFill rotWithShape="0">
                      <a:gsLst>
                        <a:gs pos="10000">
                          <a:srgbClr val="996600"/>
                        </a:gs>
                        <a:gs pos="48000">
                          <a:srgbClr val="FFCC66"/>
                        </a:gs>
                        <a:gs pos="87000">
                          <a:srgbClr val="FFFF99"/>
                        </a:gs>
                      </a:gsLst>
                      <a:lin ang="5400000" scaled="0"/>
                    </a:gradFill>
                    <a:ln w="6350">
                      <a:noFill/>
                      <a:miter lim="800000"/>
                      <a:headEnd/>
                      <a:tailEnd/>
                    </a:ln>
                    <a:effectLst/>
                    <a:scene3d>
                      <a:camera prst="orthographicFront"/>
                      <a:lightRig rig="threePt" dir="t"/>
                    </a:scene3d>
                    <a:sp3d>
                      <a:bevelT/>
                    </a:sp3d>
                  </p:spPr>
                  <p:txBody>
                    <a:bodyPr lIns="0" tIns="0" rIns="0" bIns="0" anchor="ctr">
                      <a:noAutofit/>
                    </a:bodyPr>
                    <a:lstStyle/>
                    <a:p>
                      <a:pPr algn="ctr"/>
                      <a:r>
                        <a:rPr lang="it-IT" sz="700" dirty="0" smtClean="0"/>
                        <a:t>IP CENTREX</a:t>
                      </a:r>
                      <a:endParaRPr lang="it-IT" sz="700" dirty="0"/>
                    </a:p>
                  </p:txBody>
                </p:sp>
                <p:sp>
                  <p:nvSpPr>
                    <p:cNvPr id="404" name="Freeform 14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4844443" y="1377213"/>
                      <a:ext cx="552309" cy="84603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0"/>
                        </a:cxn>
                        <a:cxn ang="0">
                          <a:pos x="440" y="460"/>
                        </a:cxn>
                        <a:cxn ang="0">
                          <a:pos x="402" y="832"/>
                        </a:cxn>
                      </a:cxnLst>
                      <a:rect l="0" t="0" r="r" b="b"/>
                      <a:pathLst>
                        <a:path w="440" h="832">
                          <a:moveTo>
                            <a:pt x="0" y="0"/>
                          </a:moveTo>
                          <a:lnTo>
                            <a:pt x="440" y="460"/>
                          </a:lnTo>
                          <a:lnTo>
                            <a:pt x="402" y="832"/>
                          </a:lnTo>
                        </a:path>
                      </a:pathLst>
                    </a:custGeom>
                    <a:gradFill rotWithShape="0">
                      <a:gsLst>
                        <a:gs pos="31000">
                          <a:srgbClr val="996600"/>
                        </a:gs>
                        <a:gs pos="47000">
                          <a:srgbClr val="FFCC66"/>
                        </a:gs>
                      </a:gsLst>
                      <a:lin ang="420000" scaled="0"/>
                    </a:gradFill>
                    <a:ln w="6350">
                      <a:noFill/>
                      <a:miter lim="800000"/>
                      <a:headEnd/>
                      <a:tailEnd/>
                    </a:ln>
                    <a:effectLst/>
                    <a:scene3d>
                      <a:camera prst="orthographicFront"/>
                      <a:lightRig rig="threePt" dir="t"/>
                    </a:scene3d>
                    <a:sp3d>
                      <a:bevelT/>
                    </a:sp3d>
                  </p:spPr>
                  <p:txBody>
                    <a:bodyPr anchor="ctr">
                      <a:noAutofit/>
                    </a:bodyPr>
                    <a:lstStyle/>
                    <a:p>
                      <a:endParaRPr lang="it-IT" sz="1000">
                        <a:latin typeface="+mn-lt"/>
                      </a:endParaRPr>
                    </a:p>
                  </p:txBody>
                </p:sp>
              </p:grpSp>
              <p:sp>
                <p:nvSpPr>
                  <p:cNvPr id="414" name="Freeform 413"/>
                  <p:cNvSpPr/>
                  <p:nvPr/>
                </p:nvSpPr>
                <p:spPr>
                  <a:xfrm>
                    <a:off x="5744348" y="1814447"/>
                    <a:ext cx="264370" cy="307499"/>
                  </a:xfrm>
                  <a:custGeom>
                    <a:avLst/>
                    <a:gdLst>
                      <a:gd name="connsiteX0" fmla="*/ 224351 w 224351"/>
                      <a:gd name="connsiteY0" fmla="*/ 0 h 336527"/>
                      <a:gd name="connsiteX1" fmla="*/ 0 w 224351"/>
                      <a:gd name="connsiteY1" fmla="*/ 336527 h 336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351" h="336527">
                        <a:moveTo>
                          <a:pt x="224351" y="0"/>
                        </a:moveTo>
                        <a:lnTo>
                          <a:pt x="0" y="336527"/>
                        </a:lnTo>
                      </a:path>
                    </a:pathLst>
                  </a:custGeom>
                  <a:ln w="25400">
                    <a:solidFill>
                      <a:srgbClr val="0070C0"/>
                    </a:solidFill>
                  </a:ln>
                  <a:scene3d>
                    <a:camera prst="orthographicFront"/>
                    <a:lightRig rig="threePt" dir="t"/>
                  </a:scene3d>
                  <a:sp3d>
                    <a:bevelT/>
                    <a:bevelB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417" name="Freeform 416"/>
                  <p:cNvSpPr/>
                  <p:nvPr/>
                </p:nvSpPr>
                <p:spPr>
                  <a:xfrm>
                    <a:off x="4852808" y="1815274"/>
                    <a:ext cx="275622" cy="314292"/>
                  </a:xfrm>
                  <a:custGeom>
                    <a:avLst/>
                    <a:gdLst>
                      <a:gd name="connsiteX0" fmla="*/ 224351 w 224351"/>
                      <a:gd name="connsiteY0" fmla="*/ 0 h 336527"/>
                      <a:gd name="connsiteX1" fmla="*/ 0 w 224351"/>
                      <a:gd name="connsiteY1" fmla="*/ 336527 h 3365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4351" h="336527">
                        <a:moveTo>
                          <a:pt x="224351" y="0"/>
                        </a:moveTo>
                        <a:lnTo>
                          <a:pt x="0" y="336527"/>
                        </a:lnTo>
                      </a:path>
                    </a:pathLst>
                  </a:custGeom>
                  <a:ln w="25400">
                    <a:solidFill>
                      <a:srgbClr val="0070C0"/>
                    </a:solidFill>
                  </a:ln>
                  <a:scene3d>
                    <a:camera prst="orthographicFront"/>
                    <a:lightRig rig="threePt" dir="t"/>
                  </a:scene3d>
                  <a:sp3d>
                    <a:bevelT/>
                    <a:bevelB/>
                  </a:sp3d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418" name="AutoShape 101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5754796" y="800551"/>
                    <a:ext cx="72000" cy="2340000"/>
                  </a:xfrm>
                  <a:prstGeom prst="can">
                    <a:avLst>
                      <a:gd name="adj" fmla="val 49406"/>
                    </a:avLst>
                  </a:prstGeom>
                  <a:gradFill rotWithShape="1">
                    <a:gsLst>
                      <a:gs pos="0">
                        <a:srgbClr val="FF9900"/>
                      </a:gs>
                      <a:gs pos="50000">
                        <a:srgbClr val="FFFF00"/>
                      </a:gs>
                      <a:gs pos="100000">
                        <a:srgbClr val="FF9900"/>
                      </a:gs>
                    </a:gsLst>
                    <a:lin ang="0" scaled="1"/>
                  </a:gradFill>
                  <a:ln w="9525">
                    <a:solidFill>
                      <a:srgbClr val="F4BF17"/>
                    </a:solidFill>
                    <a:round/>
                    <a:headEnd/>
                    <a:tailEnd/>
                  </a:ln>
                  <a:effectLst/>
                </p:spPr>
                <p:txBody>
                  <a:bodyPr wrap="none" anchor="ctr"/>
                  <a:lstStyle/>
                  <a:p>
                    <a:endParaRPr lang="it-IT"/>
                  </a:p>
                </p:txBody>
              </p:sp>
              <p:grpSp>
                <p:nvGrpSpPr>
                  <p:cNvPr id="269" name="Group 73"/>
                  <p:cNvGrpSpPr>
                    <a:grpSpLocks noChangeAspect="1"/>
                  </p:cNvGrpSpPr>
                  <p:nvPr/>
                </p:nvGrpSpPr>
                <p:grpSpPr bwMode="auto">
                  <a:xfrm>
                    <a:off x="4519167" y="2107253"/>
                    <a:ext cx="576263" cy="274638"/>
                    <a:chOff x="1232" y="3344"/>
                    <a:chExt cx="678" cy="393"/>
                  </a:xfrm>
                </p:grpSpPr>
                <p:grpSp>
                  <p:nvGrpSpPr>
                    <p:cNvPr id="303" name="Group 74"/>
                    <p:cNvGrpSpPr>
                      <a:grpSpLocks noChangeAspect="1"/>
                    </p:cNvGrpSpPr>
                    <p:nvPr/>
                  </p:nvGrpSpPr>
                  <p:grpSpPr bwMode="auto">
                    <a:xfrm>
                      <a:off x="1232" y="3344"/>
                      <a:ext cx="678" cy="393"/>
                      <a:chOff x="1232" y="3344"/>
                      <a:chExt cx="678" cy="393"/>
                    </a:xfrm>
                  </p:grpSpPr>
                  <p:pic>
                    <p:nvPicPr>
                      <p:cNvPr id="307" name="Picture 75" descr="ServerVoiceComm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 cstate="print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2" y="3344"/>
                        <a:ext cx="390" cy="393"/>
                      </a:xfrm>
                      <a:prstGeom prst="rect">
                        <a:avLst/>
                      </a:prstGeom>
                      <a:noFill/>
                      <a:effectLst>
                        <a:reflection blurRad="6350" stA="52000" endA="300" endPos="35000" dir="5400000" sy="-100000" algn="bl" rotWithShape="0"/>
                      </a:effectLst>
                    </p:spPr>
                  </p:pic>
                  <p:pic>
                    <p:nvPicPr>
                      <p:cNvPr id="308" name="Picture 76" descr="ServerVoiceComm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 cstate="print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0" y="3344"/>
                        <a:ext cx="390" cy="393"/>
                      </a:xfrm>
                      <a:prstGeom prst="rect">
                        <a:avLst/>
                      </a:prstGeom>
                      <a:noFill/>
                      <a:effectLst>
                        <a:reflection blurRad="6350" stA="52000" endA="300" endPos="35000" dir="5400000" sy="-100000" algn="bl" rotWithShape="0"/>
                      </a:effectLst>
                    </p:spPr>
                  </p:pic>
                </p:grpSp>
                <p:sp>
                  <p:nvSpPr>
                    <p:cNvPr id="304" name="Rectangle 77"/>
                    <p:cNvSpPr>
                      <a:spLocks noChangeAspect="1" noChangeArrowheads="1"/>
                    </p:cNvSpPr>
                    <p:nvPr/>
                  </p:nvSpPr>
                  <p:spPr bwMode="auto">
                    <a:xfrm>
                      <a:off x="1260" y="3708"/>
                      <a:ext cx="558" cy="28"/>
                    </a:xfrm>
                    <a:prstGeom prst="rect">
                      <a:avLst/>
                    </a:prstGeom>
                    <a:solidFill>
                      <a:srgbClr val="BF9F8B"/>
                    </a:solidFill>
                    <a:ln w="9525" algn="ctr">
                      <a:noFill/>
                      <a:miter lim="800000"/>
                      <a:headEnd/>
                      <a:tailEnd/>
                    </a:ln>
                    <a:effectLst/>
                  </p:spPr>
                  <p:txBody>
                    <a:bodyPr anchor="ctr">
                      <a:spAutoFit/>
                    </a:bodyPr>
                    <a:lstStyle/>
                    <a:p>
                      <a:endParaRPr lang="it-IT"/>
                    </a:p>
                  </p:txBody>
                </p:sp>
                <p:sp>
                  <p:nvSpPr>
                    <p:cNvPr id="305" name="Freeform 78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232" y="3344"/>
                      <a:ext cx="645" cy="6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61"/>
                        </a:cxn>
                        <a:cxn ang="0">
                          <a:pos x="585" y="61"/>
                        </a:cxn>
                        <a:cxn ang="0">
                          <a:pos x="645" y="1"/>
                        </a:cxn>
                        <a:cxn ang="0">
                          <a:pos x="73" y="0"/>
                        </a:cxn>
                        <a:cxn ang="0">
                          <a:pos x="0" y="61"/>
                        </a:cxn>
                      </a:cxnLst>
                      <a:rect l="0" t="0" r="r" b="b"/>
                      <a:pathLst>
                        <a:path w="645" h="61">
                          <a:moveTo>
                            <a:pt x="0" y="61"/>
                          </a:moveTo>
                          <a:lnTo>
                            <a:pt x="585" y="61"/>
                          </a:lnTo>
                          <a:lnTo>
                            <a:pt x="645" y="1"/>
                          </a:lnTo>
                          <a:lnTo>
                            <a:pt x="73" y="0"/>
                          </a:lnTo>
                          <a:lnTo>
                            <a:pt x="0" y="61"/>
                          </a:lnTo>
                          <a:close/>
                        </a:path>
                      </a:pathLst>
                    </a:custGeom>
                    <a:gradFill rotWithShape="1">
                      <a:gsLst>
                        <a:gs pos="0">
                          <a:srgbClr val="709DF6">
                            <a:gamma/>
                            <a:shade val="46275"/>
                            <a:invGamma/>
                          </a:srgbClr>
                        </a:gs>
                        <a:gs pos="100000">
                          <a:srgbClr val="709DF6"/>
                        </a:gs>
                      </a:gsLst>
                      <a:lin ang="5400000" scaled="1"/>
                    </a:gradFill>
                    <a:ln w="9525" cap="flat" cmpd="sng">
                      <a:noFill/>
                      <a:prstDash val="solid"/>
                      <a:round/>
                      <a:headEnd/>
                      <a:tailEnd/>
                    </a:ln>
                    <a:effectLst/>
                  </p:spPr>
                  <p:txBody>
                    <a:bodyPr wrap="none" anchor="ctr">
                      <a:spAutoFit/>
                    </a:bodyPr>
                    <a:lstStyle/>
                    <a:p>
                      <a:endParaRPr lang="it-IT"/>
                    </a:p>
                  </p:txBody>
                </p:sp>
                <p:sp>
                  <p:nvSpPr>
                    <p:cNvPr id="306" name="Line 79"/>
                    <p:cNvSpPr>
                      <a:spLocks noChangeAspect="1" noChangeShapeType="1"/>
                    </p:cNvSpPr>
                    <p:nvPr/>
                  </p:nvSpPr>
                  <p:spPr bwMode="auto">
                    <a:xfrm>
                      <a:off x="1526" y="3414"/>
                      <a:ext cx="0" cy="282"/>
                    </a:xfrm>
                    <a:prstGeom prst="line">
                      <a:avLst/>
                    </a:prstGeom>
                    <a:noFill/>
                    <a:ln w="9525">
                      <a:solidFill>
                        <a:schemeClr val="bg1"/>
                      </a:solidFill>
                      <a:round/>
                      <a:headEnd/>
                      <a:tailEnd/>
                    </a:ln>
                    <a:effectLst>
                      <a:reflection blurRad="6350" stA="52000" endA="300" endPos="35000" dir="5400000" sy="-100000" algn="bl" rotWithShape="0"/>
                    </a:effectLst>
                  </p:spPr>
                  <p:txBody>
                    <a:bodyPr wrap="none" anchor="ctr">
                      <a:spAutoFit/>
                    </a:bodyPr>
                    <a:lstStyle/>
                    <a:p>
                      <a:endParaRPr lang="it-IT"/>
                    </a:p>
                  </p:txBody>
                </p:sp>
              </p:grpSp>
              <p:pic>
                <p:nvPicPr>
                  <p:cNvPr id="433" name="Picture 22" descr="router-generic"/>
                  <p:cNvPicPr>
                    <a:picLocks noChangeAspect="1" noChangeArrowheads="1"/>
                  </p:cNvPicPr>
                  <p:nvPr/>
                </p:nvPicPr>
                <p:blipFill>
                  <a:blip r:embed="rId5" cstate="print"/>
                  <a:srcRect/>
                  <a:stretch>
                    <a:fillRect/>
                  </a:stretch>
                </p:blipFill>
                <p:spPr bwMode="auto">
                  <a:xfrm>
                    <a:off x="5466969" y="2098973"/>
                    <a:ext cx="405765" cy="285923"/>
                  </a:xfrm>
                  <a:prstGeom prst="roundRect">
                    <a:avLst>
                      <a:gd name="adj" fmla="val 8594"/>
                    </a:avLst>
                  </a:prstGeom>
                  <a:solidFill>
                    <a:srgbClr val="FFFFFF">
                      <a:shade val="85000"/>
                    </a:srgbClr>
                  </a:solidFill>
                  <a:ln>
                    <a:noFill/>
                  </a:ln>
                  <a:effectLst>
                    <a:reflection blurRad="12700" stA="38000" endPos="28000" dist="5000" dir="5400000" sy="-100000" algn="bl" rotWithShape="0"/>
                  </a:effectLst>
                </p:spPr>
              </p:pic>
            </p:grpSp>
            <p:sp>
              <p:nvSpPr>
                <p:cNvPr id="137" name="Freeform 136"/>
                <p:cNvSpPr/>
                <p:nvPr/>
              </p:nvSpPr>
              <p:spPr>
                <a:xfrm>
                  <a:off x="4688540" y="2375647"/>
                  <a:ext cx="1524000" cy="233082"/>
                </a:xfrm>
                <a:custGeom>
                  <a:avLst/>
                  <a:gdLst>
                    <a:gd name="connsiteX0" fmla="*/ 170329 w 1524000"/>
                    <a:gd name="connsiteY0" fmla="*/ 0 h 233082"/>
                    <a:gd name="connsiteX1" fmla="*/ 0 w 1524000"/>
                    <a:gd name="connsiteY1" fmla="*/ 233082 h 233082"/>
                    <a:gd name="connsiteX2" fmla="*/ 1524000 w 1524000"/>
                    <a:gd name="connsiteY2" fmla="*/ 233082 h 233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524000" h="233082">
                      <a:moveTo>
                        <a:pt x="170329" y="0"/>
                      </a:moveTo>
                      <a:lnTo>
                        <a:pt x="0" y="233082"/>
                      </a:lnTo>
                      <a:lnTo>
                        <a:pt x="1524000" y="233082"/>
                      </a:lnTo>
                    </a:path>
                  </a:pathLst>
                </a:custGeom>
                <a:noFill/>
                <a:ln w="19050" algn="ctr">
                  <a:solidFill>
                    <a:srgbClr val="C00000"/>
                  </a:solidFill>
                  <a:round/>
                  <a:headEnd/>
                  <a:tailEnd/>
                </a:ln>
                <a:effectLst>
                  <a:reflection blurRad="6350" stA="52000" endA="300" endPos="35000" dir="5400000" sy="-100000" algn="bl" rotWithShape="0"/>
                </a:effectLst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 sz="1100">
                    <a:latin typeface="Interstate-Light" pitchFamily="2" charset="0"/>
                  </a:endParaRPr>
                </a:p>
              </p:txBody>
            </p:sp>
            <p:grpSp>
              <p:nvGrpSpPr>
                <p:cNvPr id="136" name="Group 135"/>
                <p:cNvGrpSpPr/>
                <p:nvPr/>
              </p:nvGrpSpPr>
              <p:grpSpPr>
                <a:xfrm>
                  <a:off x="5913910" y="1885810"/>
                  <a:ext cx="1164421" cy="1153880"/>
                  <a:chOff x="5913910" y="1849950"/>
                  <a:chExt cx="1164421" cy="1153880"/>
                </a:xfrm>
              </p:grpSpPr>
              <p:sp>
                <p:nvSpPr>
                  <p:cNvPr id="134" name="Cloud 133"/>
                  <p:cNvSpPr/>
                  <p:nvPr/>
                </p:nvSpPr>
                <p:spPr>
                  <a:xfrm rot="178150">
                    <a:off x="6025136" y="1849950"/>
                    <a:ext cx="884253" cy="1153880"/>
                  </a:xfrm>
                  <a:prstGeom prst="cloud">
                    <a:avLst/>
                  </a:prstGeom>
                  <a:scene3d>
                    <a:camera prst="isometricOffAxis2Top"/>
                    <a:lightRig rig="threePt" dir="t">
                      <a:rot lat="0" lon="0" rev="1200000"/>
                    </a:lightRig>
                  </a:scene3d>
                  <a:sp3d>
                    <a:bevelT w="63500" h="25400"/>
                  </a:sp3d>
                </p:spPr>
                <p:style>
                  <a:lnRef idx="0">
                    <a:schemeClr val="accent6"/>
                  </a:lnRef>
                  <a:fillRef idx="3">
                    <a:schemeClr val="accent6"/>
                  </a:fillRef>
                  <a:effectRef idx="3">
                    <a:schemeClr val="accent6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135" name="Text Box 23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913910" y="2266275"/>
                    <a:ext cx="1164421" cy="33855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scene3d>
                    <a:camera prst="orthographicFront">
                      <a:rot lat="1800000" lon="18600000" rev="19680000"/>
                    </a:camera>
                    <a:lightRig rig="threePt" dir="t"/>
                  </a:scene3d>
                </p:spPr>
                <p:txBody>
                  <a:bodyPr wrap="none">
                    <a:spAutoFit/>
                  </a:bodyPr>
                  <a:lstStyle/>
                  <a:p>
                    <a:pPr eaLnBrk="0" hangingPunct="0">
                      <a:spcBef>
                        <a:spcPct val="50000"/>
                      </a:spcBef>
                      <a:buSzPct val="40000"/>
                    </a:pPr>
                    <a:r>
                      <a:rPr lang="it-IT" sz="1600" dirty="0" smtClean="0">
                        <a:solidFill>
                          <a:srgbClr val="FF0000"/>
                        </a:solidFill>
                        <a:cs typeface="+mn-cs"/>
                      </a:rPr>
                      <a:t>VoIP PSTN</a:t>
                    </a:r>
                  </a:p>
                </p:txBody>
              </p:sp>
            </p:grpSp>
          </p:grpSp>
          <p:sp>
            <p:nvSpPr>
              <p:cNvPr id="146" name="Text Box 23"/>
              <p:cNvSpPr txBox="1">
                <a:spLocks noChangeArrowheads="1"/>
              </p:cNvSpPr>
              <p:nvPr/>
            </p:nvSpPr>
            <p:spPr bwMode="auto">
              <a:xfrm>
                <a:off x="6720737" y="1333941"/>
                <a:ext cx="1329573" cy="584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>
                  <a:rot lat="1800000" lon="18600000" rev="19680000"/>
                </a:camera>
                <a:lightRig rig="threePt" dir="t"/>
              </a:scene3d>
            </p:spPr>
            <p:txBody>
              <a:bodyPr wrap="square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SzPct val="40000"/>
                </a:pPr>
                <a:r>
                  <a:rPr lang="it-IT" sz="1600" dirty="0" smtClean="0">
                    <a:solidFill>
                      <a:srgbClr val="FF0000"/>
                    </a:solidFill>
                    <a:cs typeface="+mn-cs"/>
                  </a:rPr>
                  <a:t>Carrier Services</a:t>
                </a:r>
              </a:p>
            </p:txBody>
          </p:sp>
        </p:grpSp>
        <p:sp>
          <p:nvSpPr>
            <p:cNvPr id="153" name="Text Box 23"/>
            <p:cNvSpPr txBox="1">
              <a:spLocks noChangeArrowheads="1"/>
            </p:cNvSpPr>
            <p:nvPr/>
          </p:nvSpPr>
          <p:spPr bwMode="auto">
            <a:xfrm>
              <a:off x="3959610" y="2346956"/>
              <a:ext cx="1329573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1800000" lon="18600000" rev="19680000"/>
              </a:camera>
              <a:lightRig rig="threePt" dir="t"/>
            </a:scene3d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  <a:buSzPct val="40000"/>
              </a:pPr>
              <a:r>
                <a:rPr lang="it-IT" sz="1600" dirty="0" smtClean="0">
                  <a:solidFill>
                    <a:srgbClr val="002060"/>
                  </a:solidFill>
                  <a:cs typeface="+mn-cs"/>
                </a:rPr>
                <a:t>SBC</a:t>
              </a:r>
            </a:p>
          </p:txBody>
        </p:sp>
      </p:grpSp>
      <p:sp>
        <p:nvSpPr>
          <p:cNvPr id="160" name="Rounded Rectangle 159"/>
          <p:cNvSpPr/>
          <p:nvPr/>
        </p:nvSpPr>
        <p:spPr>
          <a:xfrm>
            <a:off x="674688" y="4796118"/>
            <a:ext cx="8684465" cy="1371599"/>
          </a:xfrm>
          <a:prstGeom prst="roundRect">
            <a:avLst>
              <a:gd name="adj" fmla="val 3764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indent="-184758" algn="ctr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HIGHLIGHTS</a:t>
            </a:r>
          </a:p>
          <a:p>
            <a:pPr marL="88900" indent="-184758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Ampliamento dell’offerta VAS per il segmento Business</a:t>
            </a:r>
          </a:p>
          <a:p>
            <a:pPr marL="88900" indent="-184758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Integrazione dei servizi di Telecomunicazione e di Information Technology</a:t>
            </a:r>
          </a:p>
        </p:txBody>
      </p:sp>
      <p:sp>
        <p:nvSpPr>
          <p:cNvPr id="131" name="Slide Number Placeholder 13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11</a:t>
            </a:fld>
            <a:endParaRPr lang="it-IT" sz="1400">
              <a:latin typeface="Times New Roman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12</a:t>
            </a:fld>
            <a:endParaRPr lang="it-IT"/>
          </a:p>
        </p:txBody>
      </p:sp>
      <p:pic>
        <p:nvPicPr>
          <p:cNvPr id="1026" name="Picture 2" descr="C:\Users\groda\Pictures\Microsoft Clip Organizer\Nuvole20.jpg"/>
          <p:cNvPicPr>
            <a:picLocks noGrp="1" noChangeAspect="1" noChangeArrowheads="1"/>
          </p:cNvPicPr>
          <p:nvPr>
            <p:ph type="pic" idx="1"/>
          </p:nvPr>
        </p:nvPicPr>
        <p:blipFill>
          <a:blip r:embed="rId3" cstate="print">
            <a:lum bright="24000" contrast="-23000"/>
          </a:blip>
          <a:srcRect t="10704" b="10704"/>
          <a:stretch>
            <a:fillRect/>
          </a:stretch>
        </p:blipFill>
        <p:spPr/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voluzione verso il Cloud Computing</a:t>
            </a:r>
            <a:endParaRPr lang="it-IT" dirty="0"/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8504" y="876300"/>
            <a:ext cx="3806634" cy="427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" name="Group 358"/>
          <p:cNvGrpSpPr/>
          <p:nvPr/>
        </p:nvGrpSpPr>
        <p:grpSpPr>
          <a:xfrm>
            <a:off x="6586426" y="809625"/>
            <a:ext cx="3232262" cy="2889831"/>
            <a:chOff x="6586426" y="771525"/>
            <a:chExt cx="3232262" cy="2889831"/>
          </a:xfrm>
        </p:grpSpPr>
        <p:sp>
          <p:nvSpPr>
            <p:cNvPr id="336" name="Rounded Rectangle 335"/>
            <p:cNvSpPr/>
            <p:nvPr/>
          </p:nvSpPr>
          <p:spPr>
            <a:xfrm>
              <a:off x="6586426" y="771525"/>
              <a:ext cx="2743202" cy="2463209"/>
            </a:xfrm>
            <a:prstGeom prst="round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buNone/>
              </a:pPr>
              <a:r>
                <a:rPr lang="it-IT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nterstate-Light" pitchFamily="2" charset="0"/>
                </a:rPr>
                <a:t>Nuovi servizi</a:t>
              </a:r>
            </a:p>
          </p:txBody>
        </p:sp>
        <p:pic>
          <p:nvPicPr>
            <p:cNvPr id="337" name="Picture 8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659829" y="2674532"/>
              <a:ext cx="751455" cy="47846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50800" cap="sq">
              <a:solidFill>
                <a:schemeClr val="bg1">
                  <a:lumMod val="85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38" name="Picture 9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322762" y="1214931"/>
              <a:ext cx="1896888" cy="30064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50800" cap="sq">
              <a:solidFill>
                <a:schemeClr val="bg1">
                  <a:lumMod val="85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</p:pic>
        <p:pic>
          <p:nvPicPr>
            <p:cNvPr id="339" name="Picture 12" descr="C:\Users\groda\AppData\Local\Temp\Rar$DI00.683\cell_PNG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951480" y="2663909"/>
              <a:ext cx="615791" cy="61579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0" name="Picture 13" descr="C:\Users\groda\AppData\Local\Temp\Rar$DI00.917\web_PNG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2261" y="2615498"/>
              <a:ext cx="615791" cy="61579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1" name="Picture 14" descr="C:\Users\groda\AppData\Local\Temp\Rar$DI01.005\tv_PNG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711694" y="1148207"/>
              <a:ext cx="615791" cy="61579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2" name="Picture 20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626922" y="2398084"/>
              <a:ext cx="339613" cy="77241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3" name="Picture 21" descr="C:\Users\groda\Pictures\Apparati\7G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8368583" y="2080217"/>
              <a:ext cx="857664" cy="57305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4" name="Picture 11" descr="C:\Users\groda\AppData\Local\Temp\Rar$DI00.615\phone_PNG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702307" y="1565202"/>
              <a:ext cx="615791" cy="61579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5" name="Picture 1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7064885" y="2296360"/>
              <a:ext cx="1190847" cy="33553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50800" cap="sq">
              <a:solidFill>
                <a:schemeClr val="bg1">
                  <a:lumMod val="85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46" name="Picture 22" descr="C:\Users\groda\Pictures\Apparati\vsnew.bmp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618325" y="1783635"/>
              <a:ext cx="1021344" cy="433696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47" name="Picture 10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7675423" y="1611278"/>
              <a:ext cx="931858" cy="624441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50800" cap="sq">
              <a:solidFill>
                <a:schemeClr val="bg1">
                  <a:lumMod val="85000"/>
                </a:schemeClr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351" name="Picture 4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7238027" y="2003099"/>
              <a:ext cx="2580661" cy="1658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scene3d>
              <a:camera prst="perspectiveContrastingLeftFacing"/>
              <a:lightRig rig="threePt" dir="t"/>
            </a:scene3d>
          </p:spPr>
        </p:pic>
        <p:sp>
          <p:nvSpPr>
            <p:cNvPr id="352" name="Rectangle 351"/>
            <p:cNvSpPr/>
            <p:nvPr/>
          </p:nvSpPr>
          <p:spPr>
            <a:xfrm>
              <a:off x="8359014" y="3227390"/>
              <a:ext cx="1161534" cy="400110"/>
            </a:xfrm>
            <a:prstGeom prst="rect">
              <a:avLst/>
            </a:prstGeom>
            <a:noFill/>
            <a:scene3d>
              <a:camera prst="isometricOffAxis2Left">
                <a:rot lat="1080000" lon="1560000" rev="21180000"/>
              </a:camera>
              <a:lightRig rig="threePt" dir="t"/>
            </a:scene3d>
          </p:spPr>
          <p:txBody>
            <a:bodyPr wrap="square" lIns="91440" tIns="45720" rIns="91440" bIns="45720">
              <a:spAutoFit/>
              <a:scene3d>
                <a:camera prst="orthographicFront"/>
                <a:lightRig rig="flat" dir="t">
                  <a:rot lat="0" lon="0" rev="18900000"/>
                </a:lightRig>
              </a:scene3d>
              <a:sp3d extrusionH="31750" contourW="6350" prstMaterial="powder">
                <a:bevelT w="19050" h="19050" prst="angle"/>
                <a:contourClr>
                  <a:schemeClr val="accent3">
                    <a:tint val="100000"/>
                    <a:shade val="100000"/>
                    <a:satMod val="100000"/>
                    <a:hueMod val="100000"/>
                  </a:schemeClr>
                </a:contourClr>
              </a:sp3d>
            </a:bodyPr>
            <a:lstStyle/>
            <a:p>
              <a:pPr algn="ctr">
                <a:buNone/>
              </a:pPr>
              <a:r>
                <a:rPr lang="en-US" sz="2000" b="1" dirty="0" smtClean="0">
                  <a:ln/>
                  <a:solidFill>
                    <a:srgbClr val="7030A0"/>
                  </a:solidFill>
                </a:rPr>
                <a:t>ARPU</a:t>
              </a:r>
              <a:endParaRPr lang="en-US" sz="2000" b="1" dirty="0">
                <a:ln/>
                <a:solidFill>
                  <a:srgbClr val="7030A0"/>
                </a:solidFill>
              </a:endParaRPr>
            </a:p>
          </p:txBody>
        </p:sp>
      </p:grpSp>
      <p:grpSp>
        <p:nvGrpSpPr>
          <p:cNvPr id="5" name="Group 359"/>
          <p:cNvGrpSpPr/>
          <p:nvPr/>
        </p:nvGrpSpPr>
        <p:grpSpPr>
          <a:xfrm>
            <a:off x="6092208" y="3715193"/>
            <a:ext cx="3237420" cy="2714182"/>
            <a:chOff x="6092208" y="3715193"/>
            <a:chExt cx="3237420" cy="2714182"/>
          </a:xfrm>
        </p:grpSpPr>
        <p:sp>
          <p:nvSpPr>
            <p:cNvPr id="353" name="Rounded Rectangle 352"/>
            <p:cNvSpPr/>
            <p:nvPr/>
          </p:nvSpPr>
          <p:spPr>
            <a:xfrm>
              <a:off x="6586426" y="3715193"/>
              <a:ext cx="2743202" cy="2462400"/>
            </a:xfrm>
            <a:prstGeom prst="round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buNone/>
              </a:pPr>
              <a:r>
                <a:rPr lang="it-IT" sz="14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Interstate-Light" pitchFamily="2" charset="0"/>
                </a:rPr>
                <a:t>Riduzione TCO</a:t>
              </a:r>
            </a:p>
          </p:txBody>
        </p:sp>
        <p:pic>
          <p:nvPicPr>
            <p:cNvPr id="1033" name="Picture 9" descr="C:\Users\groda\Pictures\Microsoft Clip Organizer\Elettricità3.jpg"/>
            <p:cNvPicPr>
              <a:picLocks noChangeAspect="1" noChangeArrowheads="1"/>
            </p:cNvPicPr>
            <p:nvPr/>
          </p:nvPicPr>
          <p:blipFill>
            <a:blip r:embed="rId17" cstate="print"/>
            <a:stretch>
              <a:fillRect/>
            </a:stretch>
          </p:blipFill>
          <p:spPr bwMode="auto">
            <a:xfrm>
              <a:off x="8009300" y="4229100"/>
              <a:ext cx="1205386" cy="85883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32" name="Picture 8" descr="C:\Users\groda\Pictures\Microsoft Clip Organizer\Datacenter1.jpg"/>
            <p:cNvPicPr preferRelativeResize="0">
              <a:picLocks noChangeAspect="1" noChangeArrowheads="1"/>
            </p:cNvPicPr>
            <p:nvPr/>
          </p:nvPicPr>
          <p:blipFill>
            <a:blip r:embed="rId18" cstate="print"/>
            <a:stretch>
              <a:fillRect/>
            </a:stretch>
          </p:blipFill>
          <p:spPr bwMode="auto">
            <a:xfrm>
              <a:off x="6686550" y="4057650"/>
              <a:ext cx="1512279" cy="112916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36" name="Picture 12" descr="C:\Users\groda\Pictures\Microsoft Clip Organizer\Metro11.jpg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8082113" y="5057775"/>
              <a:ext cx="1212700" cy="96996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6" name="Group 349"/>
            <p:cNvGrpSpPr/>
            <p:nvPr/>
          </p:nvGrpSpPr>
          <p:grpSpPr>
            <a:xfrm>
              <a:off x="6092208" y="4784087"/>
              <a:ext cx="2585067" cy="1645288"/>
              <a:chOff x="7097882" y="5060841"/>
              <a:chExt cx="2585067" cy="1645288"/>
            </a:xfrm>
          </p:grpSpPr>
          <p:pic>
            <p:nvPicPr>
              <p:cNvPr id="348" name="Picture 2"/>
              <p:cNvPicPr>
                <a:picLocks noChangeAspect="1"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7097882" y="5060841"/>
                <a:ext cx="2585067" cy="16452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scene3d>
                <a:camera prst="perspectiveContrastingLeftFacing"/>
                <a:lightRig rig="threePt" dir="t"/>
              </a:scene3d>
            </p:spPr>
          </p:pic>
          <p:sp>
            <p:nvSpPr>
              <p:cNvPr id="349" name="Rectangle 348"/>
              <p:cNvSpPr/>
              <p:nvPr/>
            </p:nvSpPr>
            <p:spPr>
              <a:xfrm>
                <a:off x="8247819" y="6257585"/>
                <a:ext cx="1161534" cy="400110"/>
              </a:xfrm>
              <a:prstGeom prst="rect">
                <a:avLst/>
              </a:prstGeom>
              <a:noFill/>
              <a:scene3d>
                <a:camera prst="isometricOffAxis2Left">
                  <a:rot lat="1080000" lon="1560000" rev="21180000"/>
                </a:camera>
                <a:lightRig rig="threePt" dir="t"/>
              </a:scene3d>
            </p:spPr>
            <p:txBody>
              <a:bodyPr wrap="square" lIns="91440" tIns="45720" rIns="91440" bIns="45720">
                <a:noAutofit/>
                <a:scene3d>
                  <a:camera prst="orthographicFront"/>
                  <a:lightRig rig="flat" dir="t">
                    <a:rot lat="0" lon="0" rev="18900000"/>
                  </a:lightRig>
                </a:scene3d>
                <a:sp3d extrusionH="31750" contourW="6350" prstMaterial="powder">
                  <a:bevelT w="19050" h="19050" prst="angle"/>
                  <a:contourClr>
                    <a:schemeClr val="accent3">
                      <a:tint val="100000"/>
                      <a:shade val="100000"/>
                      <a:satMod val="100000"/>
                      <a:hueMod val="100000"/>
                    </a:schemeClr>
                  </a:contourClr>
                </a:sp3d>
              </a:bodyPr>
              <a:lstStyle/>
              <a:p>
                <a:pPr algn="ctr">
                  <a:buNone/>
                </a:pPr>
                <a:r>
                  <a:rPr lang="en-US" sz="2000" b="1" dirty="0" smtClean="0">
                    <a:ln/>
                    <a:solidFill>
                      <a:srgbClr val="7030A0"/>
                    </a:solidFill>
                  </a:rPr>
                  <a:t>TCO</a:t>
                </a:r>
                <a:endParaRPr lang="en-US" sz="2000" b="1" dirty="0">
                  <a:ln/>
                  <a:solidFill>
                    <a:srgbClr val="7030A0"/>
                  </a:solidFill>
                </a:endParaRPr>
              </a:p>
            </p:txBody>
          </p:sp>
        </p:grpSp>
      </p:grpSp>
      <p:graphicFrame>
        <p:nvGraphicFramePr>
          <p:cNvPr id="364" name="Diagram 363"/>
          <p:cNvGraphicFramePr>
            <a:graphicFrameLocks noChangeAspect="1"/>
          </p:cNvGraphicFramePr>
          <p:nvPr/>
        </p:nvGraphicFramePr>
        <p:xfrm>
          <a:off x="609600" y="5143500"/>
          <a:ext cx="3638550" cy="1228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1" r:lo="rId22" r:qs="rId23" r:cs="rId24"/>
          </a:graphicData>
        </a:graphic>
      </p:graphicFrame>
      <p:grpSp>
        <p:nvGrpSpPr>
          <p:cNvPr id="7" name="Group 334"/>
          <p:cNvGrpSpPr/>
          <p:nvPr/>
        </p:nvGrpSpPr>
        <p:grpSpPr>
          <a:xfrm>
            <a:off x="3667125" y="1504950"/>
            <a:ext cx="3219450" cy="3886200"/>
            <a:chOff x="4648200" y="876300"/>
            <a:chExt cx="3219450" cy="3886200"/>
          </a:xfrm>
        </p:grpSpPr>
        <p:pic>
          <p:nvPicPr>
            <p:cNvPr id="1028" name="Picture 4" descr="C:\Users\groda\Pictures\Microsoft Clip Organizer\Cloud3.png"/>
            <p:cNvPicPr>
              <a:picLocks noChangeAspect="1" noChangeArrowheads="1"/>
            </p:cNvPicPr>
            <p:nvPr/>
          </p:nvPicPr>
          <p:blipFill>
            <a:blip r:embed="rId26" cstate="print">
              <a:lum contrast="13000"/>
            </a:blip>
            <a:srcRect/>
            <a:stretch>
              <a:fillRect/>
            </a:stretch>
          </p:blipFill>
          <p:spPr bwMode="auto">
            <a:xfrm>
              <a:off x="4648200" y="876300"/>
              <a:ext cx="3219450" cy="3886200"/>
            </a:xfrm>
            <a:prstGeom prst="rect">
              <a:avLst/>
            </a:prstGeom>
            <a:noFill/>
          </p:spPr>
        </p:pic>
        <p:sp>
          <p:nvSpPr>
            <p:cNvPr id="215" name="TextBox 214"/>
            <p:cNvSpPr txBox="1"/>
            <p:nvPr/>
          </p:nvSpPr>
          <p:spPr>
            <a:xfrm>
              <a:off x="4875476" y="2600325"/>
              <a:ext cx="183255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None/>
              </a:pPr>
              <a:r>
                <a:rPr lang="it-IT" sz="1800" b="1" dirty="0" smtClean="0">
                  <a:solidFill>
                    <a:srgbClr val="002060"/>
                  </a:solidFill>
                  <a:latin typeface="Interstate-Light" pitchFamily="2" charset="0"/>
                </a:rPr>
                <a:t>Nuovi servizi Cloud-Based</a:t>
              </a:r>
            </a:p>
          </p:txBody>
        </p:sp>
        <p:sp>
          <p:nvSpPr>
            <p:cNvPr id="332" name="Rectangle 331"/>
            <p:cNvSpPr/>
            <p:nvPr/>
          </p:nvSpPr>
          <p:spPr>
            <a:xfrm>
              <a:off x="6372225" y="2019300"/>
              <a:ext cx="63042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it-IT" sz="1400" b="1" dirty="0" smtClean="0">
                  <a:solidFill>
                    <a:srgbClr val="002060"/>
                  </a:solidFill>
                  <a:latin typeface="Interstate-Light" pitchFamily="2" charset="0"/>
                </a:rPr>
                <a:t>IAAS</a:t>
              </a:r>
              <a:endParaRPr lang="it-IT" sz="1400" b="1" dirty="0">
                <a:solidFill>
                  <a:srgbClr val="002060"/>
                </a:solidFill>
                <a:latin typeface="Interstate-Light" pitchFamily="2" charset="0"/>
              </a:endParaRPr>
            </a:p>
          </p:txBody>
        </p:sp>
        <p:sp>
          <p:nvSpPr>
            <p:cNvPr id="333" name="Rectangle 332"/>
            <p:cNvSpPr/>
            <p:nvPr/>
          </p:nvSpPr>
          <p:spPr>
            <a:xfrm>
              <a:off x="7038975" y="2447926"/>
              <a:ext cx="752333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it-IT" sz="1400" b="1" dirty="0" smtClean="0">
                  <a:solidFill>
                    <a:srgbClr val="002060"/>
                  </a:solidFill>
                  <a:latin typeface="Interstate-Light" pitchFamily="2" charset="0"/>
                </a:rPr>
                <a:t>SAAS</a:t>
              </a:r>
              <a:endParaRPr lang="it-IT" sz="1400" b="1" dirty="0">
                <a:solidFill>
                  <a:srgbClr val="002060"/>
                </a:solidFill>
                <a:latin typeface="Interstate-Light" pitchFamily="2" charset="0"/>
              </a:endParaRPr>
            </a:p>
          </p:txBody>
        </p:sp>
        <p:sp>
          <p:nvSpPr>
            <p:cNvPr id="334" name="Rectangle 333"/>
            <p:cNvSpPr/>
            <p:nvPr/>
          </p:nvSpPr>
          <p:spPr>
            <a:xfrm>
              <a:off x="6553200" y="2324100"/>
              <a:ext cx="760436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None/>
              </a:pPr>
              <a:r>
                <a:rPr lang="it-IT" sz="1400" b="1" dirty="0" smtClean="0">
                  <a:solidFill>
                    <a:srgbClr val="002060"/>
                  </a:solidFill>
                  <a:latin typeface="Interstate-Light" pitchFamily="2" charset="0"/>
                </a:rPr>
                <a:t>PAAS</a:t>
              </a:r>
              <a:endParaRPr lang="it-IT" sz="1400" b="1" dirty="0">
                <a:solidFill>
                  <a:srgbClr val="002060"/>
                </a:solidFill>
                <a:latin typeface="Interstate-Light" pitchFamily="2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64" grpId="0">
        <p:bldAsOne/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3AF6D5-B57F-4D27-A7CF-8932C04CEC46}" type="slidenum">
              <a:rPr lang="it-IT" smtClean="0"/>
              <a:pPr/>
              <a:t>13</a:t>
            </a:fld>
            <a:endParaRPr lang="it-IT"/>
          </a:p>
        </p:txBody>
      </p:sp>
      <p:pic>
        <p:nvPicPr>
          <p:cNvPr id="4102" name="Picture 6" descr="C:\Users\groda\Pictures\Microsoft Clip Organizer\FibraOttica2.jpg"/>
          <p:cNvPicPr>
            <a:picLocks noGrp="1" noChangeAspect="1" noChangeArrowheads="1"/>
          </p:cNvPicPr>
          <p:nvPr>
            <p:ph type="pic" idx="1"/>
          </p:nvPr>
        </p:nvPicPr>
        <p:blipFill>
          <a:blip r:embed="rId2" cstate="print"/>
          <a:srcRect t="14227" b="14227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L’evoluzione dell’Infrastruttura: NGN</a:t>
            </a:r>
            <a:endParaRPr lang="it-IT" dirty="0"/>
          </a:p>
        </p:txBody>
      </p:sp>
      <p:grpSp>
        <p:nvGrpSpPr>
          <p:cNvPr id="5" name="Group 519"/>
          <p:cNvGrpSpPr>
            <a:grpSpLocks noChangeAspect="1"/>
          </p:cNvGrpSpPr>
          <p:nvPr/>
        </p:nvGrpSpPr>
        <p:grpSpPr>
          <a:xfrm>
            <a:off x="815789" y="1015525"/>
            <a:ext cx="7730026" cy="4866967"/>
            <a:chOff x="1445144" y="2609415"/>
            <a:chExt cx="5328745" cy="2753711"/>
          </a:xfrm>
        </p:grpSpPr>
        <p:sp>
          <p:nvSpPr>
            <p:cNvPr id="9" name="Rectangle 8"/>
            <p:cNvSpPr/>
            <p:nvPr/>
          </p:nvSpPr>
          <p:spPr>
            <a:xfrm>
              <a:off x="1445144" y="2609415"/>
              <a:ext cx="5328745" cy="2753711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35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</a:gradFill>
            <a:ln w="50800">
              <a:solidFill>
                <a:srgbClr val="0070C0"/>
              </a:solidFill>
              <a:headEnd type="none" w="med" len="med"/>
              <a:tailEnd type="none" w="med" len="med"/>
            </a:ln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/>
            <a:lstStyle/>
            <a:p>
              <a:pPr algn="ctr" eaLnBrk="0" hangingPunct="0">
                <a:lnSpc>
                  <a:spcPct val="13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endParaRPr lang="it-IT" sz="1200" b="1" i="1">
                <a:solidFill>
                  <a:schemeClr val="tx1"/>
                </a:solidFill>
              </a:endParaRPr>
            </a:p>
          </p:txBody>
        </p:sp>
        <p:grpSp>
          <p:nvGrpSpPr>
            <p:cNvPr id="10" name="Group 23"/>
            <p:cNvGrpSpPr/>
            <p:nvPr/>
          </p:nvGrpSpPr>
          <p:grpSpPr>
            <a:xfrm>
              <a:off x="1468395" y="2637175"/>
              <a:ext cx="5264193" cy="2700000"/>
              <a:chOff x="1468395" y="2637175"/>
              <a:chExt cx="5264193" cy="2700000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1468395" y="515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1468395" y="497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2" name="Rectangle 41"/>
              <p:cNvSpPr/>
              <p:nvPr/>
            </p:nvSpPr>
            <p:spPr>
              <a:xfrm>
                <a:off x="1468395" y="479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3" name="Rectangle 42"/>
              <p:cNvSpPr/>
              <p:nvPr/>
            </p:nvSpPr>
            <p:spPr>
              <a:xfrm>
                <a:off x="1468395" y="461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1468395" y="443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1468395" y="425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1468395" y="407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7" name="Rectangle 46"/>
              <p:cNvSpPr/>
              <p:nvPr/>
            </p:nvSpPr>
            <p:spPr>
              <a:xfrm>
                <a:off x="1468395" y="389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1468395" y="371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49" name="Rectangle 48"/>
              <p:cNvSpPr/>
              <p:nvPr/>
            </p:nvSpPr>
            <p:spPr>
              <a:xfrm>
                <a:off x="1468395" y="353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1468395" y="335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1" name="Rectangle 50"/>
              <p:cNvSpPr/>
              <p:nvPr/>
            </p:nvSpPr>
            <p:spPr>
              <a:xfrm>
                <a:off x="1468395" y="317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1468395" y="299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1468395" y="281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" name="Rectangle 53"/>
              <p:cNvSpPr/>
              <p:nvPr/>
            </p:nvSpPr>
            <p:spPr>
              <a:xfrm>
                <a:off x="1468395" y="2637175"/>
                <a:ext cx="5264193" cy="180000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sp>
          <p:nvSpPr>
            <p:cNvPr id="11" name="Rectangle 10"/>
            <p:cNvSpPr/>
            <p:nvPr/>
          </p:nvSpPr>
          <p:spPr>
            <a:xfrm>
              <a:off x="1468395" y="2637175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648395" y="2637174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828395" y="2637176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008395" y="2637175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188395" y="2637177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368395" y="2637176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548395" y="2637178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728395" y="2637177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908395" y="2637171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088395" y="2637170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268395" y="2637172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448395" y="2637171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628395" y="2637173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808395" y="2637172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988395" y="2637174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4168395" y="2637173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348395" y="2637167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528395" y="2637166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708395" y="2637168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888395" y="2637167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068395" y="2637169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248395" y="2637168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428395" y="2637170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608395" y="2637169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788395" y="2637178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968395" y="2637180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6148395" y="2637179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328395" y="2637181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6508395" y="2637180"/>
              <a:ext cx="180000" cy="2700001"/>
            </a:xfrm>
            <a:prstGeom prst="rect">
              <a:avLst/>
            </a:prstGeom>
            <a:noFill/>
            <a:ln w="127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735106" y="1255554"/>
            <a:ext cx="7309205" cy="4487599"/>
            <a:chOff x="729236" y="1303868"/>
            <a:chExt cx="6066478" cy="3980936"/>
          </a:xfrm>
        </p:grpSpPr>
        <p:grpSp>
          <p:nvGrpSpPr>
            <p:cNvPr id="6" name="Group 231"/>
            <p:cNvGrpSpPr/>
            <p:nvPr/>
          </p:nvGrpSpPr>
          <p:grpSpPr>
            <a:xfrm>
              <a:off x="1180809" y="1303868"/>
              <a:ext cx="5565966" cy="3599267"/>
              <a:chOff x="788396" y="1406880"/>
              <a:chExt cx="7466767" cy="453159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7" name="AutoShape 9"/>
              <p:cNvSpPr>
                <a:spLocks noChangeAspect="1" noChangeArrowheads="1"/>
              </p:cNvSpPr>
              <p:nvPr/>
            </p:nvSpPr>
            <p:spPr bwMode="auto">
              <a:xfrm>
                <a:off x="788396" y="1406880"/>
                <a:ext cx="94254" cy="4522435"/>
              </a:xfrm>
              <a:prstGeom prst="roundRect">
                <a:avLst>
                  <a:gd name="adj" fmla="val 16667"/>
                </a:avLst>
              </a:prstGeom>
              <a:gradFill rotWithShape="0">
                <a:gsLst>
                  <a:gs pos="0">
                    <a:srgbClr val="F8B700">
                      <a:gamma/>
                      <a:shade val="85490"/>
                      <a:invGamma/>
                    </a:srgbClr>
                  </a:gs>
                  <a:gs pos="50000">
                    <a:srgbClr val="F8B700"/>
                  </a:gs>
                  <a:gs pos="100000">
                    <a:srgbClr val="F8B700">
                      <a:gamma/>
                      <a:shade val="85490"/>
                      <a:invGamma/>
                    </a:srgb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rgbClr val="4B5E61"/>
                </a:outerShdw>
              </a:effectLst>
            </p:spPr>
            <p:txBody>
              <a:bodyPr wrap="none" lIns="82124" tIns="41061" rIns="82124" bIns="41061" anchor="ctr"/>
              <a:lstStyle/>
              <a:p>
                <a:endParaRPr lang="it-IT"/>
              </a:p>
            </p:txBody>
          </p:sp>
          <p:sp>
            <p:nvSpPr>
              <p:cNvPr id="8" name="AutoShape 10"/>
              <p:cNvSpPr>
                <a:spLocks noChangeAspect="1" noChangeArrowheads="1"/>
              </p:cNvSpPr>
              <p:nvPr/>
            </p:nvSpPr>
            <p:spPr bwMode="auto">
              <a:xfrm>
                <a:off x="855665" y="5841672"/>
                <a:ext cx="7399498" cy="96803"/>
              </a:xfrm>
              <a:prstGeom prst="roundRect">
                <a:avLst>
                  <a:gd name="adj" fmla="val 16667"/>
                </a:avLst>
              </a:prstGeom>
              <a:gradFill rotWithShape="0">
                <a:gsLst>
                  <a:gs pos="0">
                    <a:srgbClr val="F8B700">
                      <a:gamma/>
                      <a:shade val="87451"/>
                      <a:invGamma/>
                    </a:srgbClr>
                  </a:gs>
                  <a:gs pos="50000">
                    <a:srgbClr val="F8B700"/>
                  </a:gs>
                  <a:gs pos="100000">
                    <a:srgbClr val="F8B700">
                      <a:gamma/>
                      <a:shade val="87451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rgbClr val="4B5E61"/>
                </a:outerShdw>
              </a:effectLst>
            </p:spPr>
            <p:txBody>
              <a:bodyPr wrap="none" lIns="82124" tIns="41061" rIns="82124" bIns="41061" anchor="ctr"/>
              <a:lstStyle/>
              <a:p>
                <a:pPr marL="228600" indent="-228600">
                  <a:buNone/>
                </a:pPr>
                <a:endParaRPr lang="it-IT"/>
              </a:p>
            </p:txBody>
          </p:sp>
        </p:grpSp>
        <p:grpSp>
          <p:nvGrpSpPr>
            <p:cNvPr id="106" name="Group 105"/>
            <p:cNvGrpSpPr/>
            <p:nvPr/>
          </p:nvGrpSpPr>
          <p:grpSpPr>
            <a:xfrm>
              <a:off x="1191830" y="4998486"/>
              <a:ext cx="5603884" cy="286318"/>
              <a:chOff x="1191830" y="4998486"/>
              <a:chExt cx="5603884" cy="286318"/>
            </a:xfrm>
          </p:grpSpPr>
          <p:sp>
            <p:nvSpPr>
              <p:cNvPr id="91" name="Text Box 56"/>
              <p:cNvSpPr txBox="1">
                <a:spLocks noChangeArrowheads="1"/>
              </p:cNvSpPr>
              <p:nvPr/>
            </p:nvSpPr>
            <p:spPr bwMode="auto">
              <a:xfrm>
                <a:off x="1191830" y="4999052"/>
                <a:ext cx="541738" cy="2857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 anchorCtr="0">
                <a:noAutofit/>
              </a:bodyPr>
              <a:lstStyle/>
              <a:p>
                <a:pPr marL="228600" indent="-228600" algn="ctr">
                  <a:buNone/>
                </a:pPr>
                <a:r>
                  <a:rPr lang="en-US" sz="1600" b="1" dirty="0" smtClean="0">
                    <a:solidFill>
                      <a:srgbClr val="FF3300"/>
                    </a:solidFill>
                  </a:rPr>
                  <a:t>OGGI</a:t>
                </a:r>
                <a:endParaRPr lang="en-US" sz="1600" b="1" dirty="0">
                  <a:solidFill>
                    <a:srgbClr val="FF3300"/>
                  </a:solidFill>
                </a:endParaRPr>
              </a:p>
            </p:txBody>
          </p:sp>
          <p:sp>
            <p:nvSpPr>
              <p:cNvPr id="92" name="Text Box 56"/>
              <p:cNvSpPr txBox="1">
                <a:spLocks noChangeArrowheads="1"/>
              </p:cNvSpPr>
              <p:nvPr/>
            </p:nvSpPr>
            <p:spPr bwMode="auto">
              <a:xfrm>
                <a:off x="6253976" y="4998486"/>
                <a:ext cx="541738" cy="2857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 anchorCtr="0">
                <a:noAutofit/>
              </a:bodyPr>
              <a:lstStyle/>
              <a:p>
                <a:pPr marL="228600" indent="-228600" algn="ctr">
                  <a:buNone/>
                </a:pPr>
                <a:r>
                  <a:rPr lang="en-US" sz="1600" b="1" dirty="0" smtClean="0">
                    <a:solidFill>
                      <a:srgbClr val="FF3300"/>
                    </a:solidFill>
                  </a:rPr>
                  <a:t>20xx</a:t>
                </a:r>
              </a:p>
            </p:txBody>
          </p:sp>
        </p:grpSp>
        <p:sp>
          <p:nvSpPr>
            <p:cNvPr id="95" name="Text Box 56"/>
            <p:cNvSpPr txBox="1">
              <a:spLocks noChangeArrowheads="1"/>
            </p:cNvSpPr>
            <p:nvPr/>
          </p:nvSpPr>
          <p:spPr bwMode="auto">
            <a:xfrm>
              <a:off x="729236" y="311226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vert270"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1600" b="1" dirty="0" smtClean="0">
                  <a:solidFill>
                    <a:srgbClr val="FF3300"/>
                  </a:solidFill>
                </a:rPr>
                <a:t>BANDA</a:t>
              </a:r>
              <a:endParaRPr lang="en-US" sz="1600" b="1" dirty="0">
                <a:solidFill>
                  <a:srgbClr val="FF3300"/>
                </a:solidFill>
              </a:endParaRPr>
            </a:p>
          </p:txBody>
        </p:sp>
      </p:grpSp>
      <p:sp>
        <p:nvSpPr>
          <p:cNvPr id="59" name="Freeform 17"/>
          <p:cNvSpPr>
            <a:spLocks noChangeAspect="1"/>
          </p:cNvSpPr>
          <p:nvPr/>
        </p:nvSpPr>
        <p:spPr bwMode="auto">
          <a:xfrm>
            <a:off x="1470212" y="1846715"/>
            <a:ext cx="6514887" cy="3101693"/>
          </a:xfrm>
          <a:custGeom>
            <a:avLst/>
            <a:gdLst>
              <a:gd name="connsiteX0" fmla="*/ 0 w 4134"/>
              <a:gd name="connsiteY0" fmla="*/ 1790 h 2296"/>
              <a:gd name="connsiteX1" fmla="*/ 2894 w 4134"/>
              <a:gd name="connsiteY1" fmla="*/ 31 h 2296"/>
              <a:gd name="connsiteX2" fmla="*/ 4134 w 4134"/>
              <a:gd name="connsiteY2" fmla="*/ 0 h 2296"/>
              <a:gd name="connsiteX3" fmla="*/ 947 w 4134"/>
              <a:gd name="connsiteY3" fmla="*/ 2296 h 2296"/>
              <a:gd name="connsiteX4" fmla="*/ 0 w 4134"/>
              <a:gd name="connsiteY4" fmla="*/ 2296 h 2296"/>
              <a:gd name="connsiteX5" fmla="*/ 0 w 4134"/>
              <a:gd name="connsiteY5" fmla="*/ 1754 h 2296"/>
              <a:gd name="connsiteX6" fmla="*/ 0 w 4134"/>
              <a:gd name="connsiteY6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894 w 4134"/>
              <a:gd name="connsiteY2" fmla="*/ 31 h 2296"/>
              <a:gd name="connsiteX3" fmla="*/ 4134 w 4134"/>
              <a:gd name="connsiteY3" fmla="*/ 0 h 2296"/>
              <a:gd name="connsiteX4" fmla="*/ 947 w 4134"/>
              <a:gd name="connsiteY4" fmla="*/ 2296 h 2296"/>
              <a:gd name="connsiteX5" fmla="*/ 0 w 4134"/>
              <a:gd name="connsiteY5" fmla="*/ 2296 h 2296"/>
              <a:gd name="connsiteX6" fmla="*/ 0 w 4134"/>
              <a:gd name="connsiteY6" fmla="*/ 1754 h 2296"/>
              <a:gd name="connsiteX7" fmla="*/ 0 w 4134"/>
              <a:gd name="connsiteY7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947 w 4134"/>
              <a:gd name="connsiteY4" fmla="*/ 2296 h 2296"/>
              <a:gd name="connsiteX5" fmla="*/ 0 w 4134"/>
              <a:gd name="connsiteY5" fmla="*/ 2296 h 2296"/>
              <a:gd name="connsiteX6" fmla="*/ 0 w 4134"/>
              <a:gd name="connsiteY6" fmla="*/ 1754 h 2296"/>
              <a:gd name="connsiteX7" fmla="*/ 0 w 4134"/>
              <a:gd name="connsiteY7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455 w 4134"/>
              <a:gd name="connsiteY4" fmla="*/ 925 h 2296"/>
              <a:gd name="connsiteX5" fmla="*/ 947 w 4134"/>
              <a:gd name="connsiteY5" fmla="*/ 2296 h 2296"/>
              <a:gd name="connsiteX6" fmla="*/ 0 w 4134"/>
              <a:gd name="connsiteY6" fmla="*/ 2296 h 2296"/>
              <a:gd name="connsiteX7" fmla="*/ 0 w 4134"/>
              <a:gd name="connsiteY7" fmla="*/ 1754 h 2296"/>
              <a:gd name="connsiteX8" fmla="*/ 0 w 4134"/>
              <a:gd name="connsiteY8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455 w 4134"/>
              <a:gd name="connsiteY4" fmla="*/ 925 h 2296"/>
              <a:gd name="connsiteX5" fmla="*/ 3056 w 4134"/>
              <a:gd name="connsiteY5" fmla="*/ 760 h 2296"/>
              <a:gd name="connsiteX6" fmla="*/ 947 w 4134"/>
              <a:gd name="connsiteY6" fmla="*/ 2296 h 2296"/>
              <a:gd name="connsiteX7" fmla="*/ 0 w 4134"/>
              <a:gd name="connsiteY7" fmla="*/ 2296 h 2296"/>
              <a:gd name="connsiteX8" fmla="*/ 0 w 4134"/>
              <a:gd name="connsiteY8" fmla="*/ 1754 h 2296"/>
              <a:gd name="connsiteX9" fmla="*/ 0 w 4134"/>
              <a:gd name="connsiteY9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320 w 4134"/>
              <a:gd name="connsiteY4" fmla="*/ 925 h 2296"/>
              <a:gd name="connsiteX5" fmla="*/ 3056 w 4134"/>
              <a:gd name="connsiteY5" fmla="*/ 760 h 2296"/>
              <a:gd name="connsiteX6" fmla="*/ 947 w 4134"/>
              <a:gd name="connsiteY6" fmla="*/ 2296 h 2296"/>
              <a:gd name="connsiteX7" fmla="*/ 0 w 4134"/>
              <a:gd name="connsiteY7" fmla="*/ 2296 h 2296"/>
              <a:gd name="connsiteX8" fmla="*/ 0 w 4134"/>
              <a:gd name="connsiteY8" fmla="*/ 1754 h 2296"/>
              <a:gd name="connsiteX9" fmla="*/ 0 w 4134"/>
              <a:gd name="connsiteY9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320 w 4134"/>
              <a:gd name="connsiteY4" fmla="*/ 925 h 2296"/>
              <a:gd name="connsiteX5" fmla="*/ 3056 w 4134"/>
              <a:gd name="connsiteY5" fmla="*/ 760 h 2296"/>
              <a:gd name="connsiteX6" fmla="*/ 3143 w 4134"/>
              <a:gd name="connsiteY6" fmla="*/ 760 h 2296"/>
              <a:gd name="connsiteX7" fmla="*/ 947 w 4134"/>
              <a:gd name="connsiteY7" fmla="*/ 2296 h 2296"/>
              <a:gd name="connsiteX8" fmla="*/ 0 w 4134"/>
              <a:gd name="connsiteY8" fmla="*/ 2296 h 2296"/>
              <a:gd name="connsiteX9" fmla="*/ 0 w 4134"/>
              <a:gd name="connsiteY9" fmla="*/ 1754 h 2296"/>
              <a:gd name="connsiteX10" fmla="*/ 0 w 4134"/>
              <a:gd name="connsiteY10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320 w 4134"/>
              <a:gd name="connsiteY4" fmla="*/ 925 h 2296"/>
              <a:gd name="connsiteX5" fmla="*/ 3056 w 4134"/>
              <a:gd name="connsiteY5" fmla="*/ 760 h 2296"/>
              <a:gd name="connsiteX6" fmla="*/ 947 w 4134"/>
              <a:gd name="connsiteY6" fmla="*/ 2296 h 2296"/>
              <a:gd name="connsiteX7" fmla="*/ 0 w 4134"/>
              <a:gd name="connsiteY7" fmla="*/ 2296 h 2296"/>
              <a:gd name="connsiteX8" fmla="*/ 0 w 4134"/>
              <a:gd name="connsiteY8" fmla="*/ 1754 h 2296"/>
              <a:gd name="connsiteX9" fmla="*/ 0 w 4134"/>
              <a:gd name="connsiteY9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320 w 4134"/>
              <a:gd name="connsiteY4" fmla="*/ 925 h 2296"/>
              <a:gd name="connsiteX5" fmla="*/ 3056 w 4134"/>
              <a:gd name="connsiteY5" fmla="*/ 760 h 2296"/>
              <a:gd name="connsiteX6" fmla="*/ 947 w 4134"/>
              <a:gd name="connsiteY6" fmla="*/ 2296 h 2296"/>
              <a:gd name="connsiteX7" fmla="*/ 0 w 4134"/>
              <a:gd name="connsiteY7" fmla="*/ 2296 h 2296"/>
              <a:gd name="connsiteX8" fmla="*/ 0 w 4134"/>
              <a:gd name="connsiteY8" fmla="*/ 1754 h 2296"/>
              <a:gd name="connsiteX9" fmla="*/ 0 w 4134"/>
              <a:gd name="connsiteY9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320 w 4134"/>
              <a:gd name="connsiteY4" fmla="*/ 925 h 2296"/>
              <a:gd name="connsiteX5" fmla="*/ 3146 w 4134"/>
              <a:gd name="connsiteY5" fmla="*/ 670 h 2296"/>
              <a:gd name="connsiteX6" fmla="*/ 947 w 4134"/>
              <a:gd name="connsiteY6" fmla="*/ 2296 h 2296"/>
              <a:gd name="connsiteX7" fmla="*/ 0 w 4134"/>
              <a:gd name="connsiteY7" fmla="*/ 2296 h 2296"/>
              <a:gd name="connsiteX8" fmla="*/ 0 w 4134"/>
              <a:gd name="connsiteY8" fmla="*/ 1754 h 2296"/>
              <a:gd name="connsiteX9" fmla="*/ 0 w 4134"/>
              <a:gd name="connsiteY9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320 w 4134"/>
              <a:gd name="connsiteY4" fmla="*/ 925 h 2296"/>
              <a:gd name="connsiteX5" fmla="*/ 3101 w 4134"/>
              <a:gd name="connsiteY5" fmla="*/ 715 h 2296"/>
              <a:gd name="connsiteX6" fmla="*/ 947 w 4134"/>
              <a:gd name="connsiteY6" fmla="*/ 2296 h 2296"/>
              <a:gd name="connsiteX7" fmla="*/ 0 w 4134"/>
              <a:gd name="connsiteY7" fmla="*/ 2296 h 2296"/>
              <a:gd name="connsiteX8" fmla="*/ 0 w 4134"/>
              <a:gd name="connsiteY8" fmla="*/ 1754 h 2296"/>
              <a:gd name="connsiteX9" fmla="*/ 0 w 4134"/>
              <a:gd name="connsiteY9" fmla="*/ 1790 h 2296"/>
              <a:gd name="connsiteX0" fmla="*/ 0 w 4134"/>
              <a:gd name="connsiteY0" fmla="*/ 1790 h 2296"/>
              <a:gd name="connsiteX1" fmla="*/ 2864 w 4134"/>
              <a:gd name="connsiteY1" fmla="*/ 505 h 2296"/>
              <a:gd name="connsiteX2" fmla="*/ 2669 w 4134"/>
              <a:gd name="connsiteY2" fmla="*/ 346 h 2296"/>
              <a:gd name="connsiteX3" fmla="*/ 4134 w 4134"/>
              <a:gd name="connsiteY3" fmla="*/ 0 h 2296"/>
              <a:gd name="connsiteX4" fmla="*/ 3230 w 4134"/>
              <a:gd name="connsiteY4" fmla="*/ 970 h 2296"/>
              <a:gd name="connsiteX5" fmla="*/ 3101 w 4134"/>
              <a:gd name="connsiteY5" fmla="*/ 715 h 2296"/>
              <a:gd name="connsiteX6" fmla="*/ 947 w 4134"/>
              <a:gd name="connsiteY6" fmla="*/ 2296 h 2296"/>
              <a:gd name="connsiteX7" fmla="*/ 0 w 4134"/>
              <a:gd name="connsiteY7" fmla="*/ 2296 h 2296"/>
              <a:gd name="connsiteX8" fmla="*/ 0 w 4134"/>
              <a:gd name="connsiteY8" fmla="*/ 1754 h 2296"/>
              <a:gd name="connsiteX9" fmla="*/ 0 w 4134"/>
              <a:gd name="connsiteY9" fmla="*/ 1790 h 2296"/>
              <a:gd name="connsiteX0" fmla="*/ 0 w 3729"/>
              <a:gd name="connsiteY0" fmla="*/ 1610 h 2116"/>
              <a:gd name="connsiteX1" fmla="*/ 2864 w 3729"/>
              <a:gd name="connsiteY1" fmla="*/ 325 h 2116"/>
              <a:gd name="connsiteX2" fmla="*/ 2669 w 3729"/>
              <a:gd name="connsiteY2" fmla="*/ 166 h 2116"/>
              <a:gd name="connsiteX3" fmla="*/ 3729 w 3729"/>
              <a:gd name="connsiteY3" fmla="*/ 0 h 2116"/>
              <a:gd name="connsiteX4" fmla="*/ 3230 w 3729"/>
              <a:gd name="connsiteY4" fmla="*/ 790 h 2116"/>
              <a:gd name="connsiteX5" fmla="*/ 3101 w 3729"/>
              <a:gd name="connsiteY5" fmla="*/ 535 h 2116"/>
              <a:gd name="connsiteX6" fmla="*/ 947 w 3729"/>
              <a:gd name="connsiteY6" fmla="*/ 2116 h 2116"/>
              <a:gd name="connsiteX7" fmla="*/ 0 w 3729"/>
              <a:gd name="connsiteY7" fmla="*/ 2116 h 2116"/>
              <a:gd name="connsiteX8" fmla="*/ 0 w 3729"/>
              <a:gd name="connsiteY8" fmla="*/ 1574 h 2116"/>
              <a:gd name="connsiteX9" fmla="*/ 0 w 3729"/>
              <a:gd name="connsiteY9" fmla="*/ 1610 h 2116"/>
              <a:gd name="connsiteX0" fmla="*/ 0 w 3729"/>
              <a:gd name="connsiteY0" fmla="*/ 1610 h 2116"/>
              <a:gd name="connsiteX1" fmla="*/ 2864 w 3729"/>
              <a:gd name="connsiteY1" fmla="*/ 325 h 2116"/>
              <a:gd name="connsiteX2" fmla="*/ 2669 w 3729"/>
              <a:gd name="connsiteY2" fmla="*/ 166 h 2116"/>
              <a:gd name="connsiteX3" fmla="*/ 3729 w 3729"/>
              <a:gd name="connsiteY3" fmla="*/ 0 h 2116"/>
              <a:gd name="connsiteX4" fmla="*/ 3230 w 3729"/>
              <a:gd name="connsiteY4" fmla="*/ 790 h 2116"/>
              <a:gd name="connsiteX5" fmla="*/ 3101 w 3729"/>
              <a:gd name="connsiteY5" fmla="*/ 535 h 2116"/>
              <a:gd name="connsiteX6" fmla="*/ 947 w 3729"/>
              <a:gd name="connsiteY6" fmla="*/ 2116 h 2116"/>
              <a:gd name="connsiteX7" fmla="*/ 0 w 3729"/>
              <a:gd name="connsiteY7" fmla="*/ 2116 h 2116"/>
              <a:gd name="connsiteX8" fmla="*/ 0 w 3729"/>
              <a:gd name="connsiteY8" fmla="*/ 1610 h 2116"/>
              <a:gd name="connsiteX0" fmla="*/ 0 w 3729"/>
              <a:gd name="connsiteY0" fmla="*/ 1833 h 2116"/>
              <a:gd name="connsiteX1" fmla="*/ 2864 w 3729"/>
              <a:gd name="connsiteY1" fmla="*/ 325 h 2116"/>
              <a:gd name="connsiteX2" fmla="*/ 2669 w 3729"/>
              <a:gd name="connsiteY2" fmla="*/ 166 h 2116"/>
              <a:gd name="connsiteX3" fmla="*/ 3729 w 3729"/>
              <a:gd name="connsiteY3" fmla="*/ 0 h 2116"/>
              <a:gd name="connsiteX4" fmla="*/ 3230 w 3729"/>
              <a:gd name="connsiteY4" fmla="*/ 790 h 2116"/>
              <a:gd name="connsiteX5" fmla="*/ 3101 w 3729"/>
              <a:gd name="connsiteY5" fmla="*/ 535 h 2116"/>
              <a:gd name="connsiteX6" fmla="*/ 947 w 3729"/>
              <a:gd name="connsiteY6" fmla="*/ 2116 h 2116"/>
              <a:gd name="connsiteX7" fmla="*/ 0 w 3729"/>
              <a:gd name="connsiteY7" fmla="*/ 2116 h 2116"/>
              <a:gd name="connsiteX8" fmla="*/ 0 w 3729"/>
              <a:gd name="connsiteY8" fmla="*/ 1833 h 2116"/>
              <a:gd name="connsiteX0" fmla="*/ 0 w 3729"/>
              <a:gd name="connsiteY0" fmla="*/ 1833 h 2116"/>
              <a:gd name="connsiteX1" fmla="*/ 2864 w 3729"/>
              <a:gd name="connsiteY1" fmla="*/ 325 h 2116"/>
              <a:gd name="connsiteX2" fmla="*/ 2669 w 3729"/>
              <a:gd name="connsiteY2" fmla="*/ 166 h 2116"/>
              <a:gd name="connsiteX3" fmla="*/ 3729 w 3729"/>
              <a:gd name="connsiteY3" fmla="*/ 0 h 2116"/>
              <a:gd name="connsiteX4" fmla="*/ 3230 w 3729"/>
              <a:gd name="connsiteY4" fmla="*/ 790 h 2116"/>
              <a:gd name="connsiteX5" fmla="*/ 3101 w 3729"/>
              <a:gd name="connsiteY5" fmla="*/ 535 h 2116"/>
              <a:gd name="connsiteX6" fmla="*/ 947 w 3729"/>
              <a:gd name="connsiteY6" fmla="*/ 2116 h 2116"/>
              <a:gd name="connsiteX7" fmla="*/ 707 w 3729"/>
              <a:gd name="connsiteY7" fmla="*/ 2110 h 2116"/>
              <a:gd name="connsiteX8" fmla="*/ 0 w 3729"/>
              <a:gd name="connsiteY8" fmla="*/ 2116 h 2116"/>
              <a:gd name="connsiteX9" fmla="*/ 0 w 3729"/>
              <a:gd name="connsiteY9" fmla="*/ 1833 h 2116"/>
              <a:gd name="connsiteX0" fmla="*/ 0 w 3729"/>
              <a:gd name="connsiteY0" fmla="*/ 1833 h 2116"/>
              <a:gd name="connsiteX1" fmla="*/ 2864 w 3729"/>
              <a:gd name="connsiteY1" fmla="*/ 325 h 2116"/>
              <a:gd name="connsiteX2" fmla="*/ 2669 w 3729"/>
              <a:gd name="connsiteY2" fmla="*/ 166 h 2116"/>
              <a:gd name="connsiteX3" fmla="*/ 3729 w 3729"/>
              <a:gd name="connsiteY3" fmla="*/ 0 h 2116"/>
              <a:gd name="connsiteX4" fmla="*/ 3230 w 3729"/>
              <a:gd name="connsiteY4" fmla="*/ 790 h 2116"/>
              <a:gd name="connsiteX5" fmla="*/ 3101 w 3729"/>
              <a:gd name="connsiteY5" fmla="*/ 535 h 2116"/>
              <a:gd name="connsiteX6" fmla="*/ 947 w 3729"/>
              <a:gd name="connsiteY6" fmla="*/ 2116 h 2116"/>
              <a:gd name="connsiteX7" fmla="*/ 0 w 3729"/>
              <a:gd name="connsiteY7" fmla="*/ 2116 h 2116"/>
              <a:gd name="connsiteX8" fmla="*/ 0 w 3729"/>
              <a:gd name="connsiteY8" fmla="*/ 1833 h 2116"/>
              <a:gd name="connsiteX0" fmla="*/ 0 w 3729"/>
              <a:gd name="connsiteY0" fmla="*/ 1833 h 2116"/>
              <a:gd name="connsiteX1" fmla="*/ 2864 w 3729"/>
              <a:gd name="connsiteY1" fmla="*/ 325 h 2116"/>
              <a:gd name="connsiteX2" fmla="*/ 2669 w 3729"/>
              <a:gd name="connsiteY2" fmla="*/ 166 h 2116"/>
              <a:gd name="connsiteX3" fmla="*/ 3729 w 3729"/>
              <a:gd name="connsiteY3" fmla="*/ 0 h 2116"/>
              <a:gd name="connsiteX4" fmla="*/ 3230 w 3729"/>
              <a:gd name="connsiteY4" fmla="*/ 790 h 2116"/>
              <a:gd name="connsiteX5" fmla="*/ 3101 w 3729"/>
              <a:gd name="connsiteY5" fmla="*/ 535 h 2116"/>
              <a:gd name="connsiteX6" fmla="*/ 769 w 3729"/>
              <a:gd name="connsiteY6" fmla="*/ 2116 h 2116"/>
              <a:gd name="connsiteX7" fmla="*/ 0 w 3729"/>
              <a:gd name="connsiteY7" fmla="*/ 2116 h 2116"/>
              <a:gd name="connsiteX8" fmla="*/ 0 w 3729"/>
              <a:gd name="connsiteY8" fmla="*/ 1833 h 2116"/>
              <a:gd name="connsiteX0" fmla="*/ 1 w 3730"/>
              <a:gd name="connsiteY0" fmla="*/ 1833 h 2116"/>
              <a:gd name="connsiteX1" fmla="*/ 2865 w 3730"/>
              <a:gd name="connsiteY1" fmla="*/ 325 h 2116"/>
              <a:gd name="connsiteX2" fmla="*/ 2670 w 3730"/>
              <a:gd name="connsiteY2" fmla="*/ 166 h 2116"/>
              <a:gd name="connsiteX3" fmla="*/ 3730 w 3730"/>
              <a:gd name="connsiteY3" fmla="*/ 0 h 2116"/>
              <a:gd name="connsiteX4" fmla="*/ 3231 w 3730"/>
              <a:gd name="connsiteY4" fmla="*/ 790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833 h 2116"/>
              <a:gd name="connsiteX0" fmla="*/ 1 w 3730"/>
              <a:gd name="connsiteY0" fmla="*/ 1833 h 2116"/>
              <a:gd name="connsiteX1" fmla="*/ 2865 w 3730"/>
              <a:gd name="connsiteY1" fmla="*/ 325 h 2116"/>
              <a:gd name="connsiteX2" fmla="*/ 2670 w 3730"/>
              <a:gd name="connsiteY2" fmla="*/ 166 h 2116"/>
              <a:gd name="connsiteX3" fmla="*/ 3730 w 3730"/>
              <a:gd name="connsiteY3" fmla="*/ 0 h 2116"/>
              <a:gd name="connsiteX4" fmla="*/ 3231 w 3730"/>
              <a:gd name="connsiteY4" fmla="*/ 790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833 h 2116"/>
              <a:gd name="connsiteX0" fmla="*/ 1 w 3730"/>
              <a:gd name="connsiteY0" fmla="*/ 1833 h 2116"/>
              <a:gd name="connsiteX1" fmla="*/ 2865 w 3730"/>
              <a:gd name="connsiteY1" fmla="*/ 325 h 2116"/>
              <a:gd name="connsiteX2" fmla="*/ 2670 w 3730"/>
              <a:gd name="connsiteY2" fmla="*/ 166 h 2116"/>
              <a:gd name="connsiteX3" fmla="*/ 3730 w 3730"/>
              <a:gd name="connsiteY3" fmla="*/ 0 h 2116"/>
              <a:gd name="connsiteX4" fmla="*/ 3231 w 3730"/>
              <a:gd name="connsiteY4" fmla="*/ 790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833 h 2116"/>
              <a:gd name="connsiteX0" fmla="*/ 1 w 3730"/>
              <a:gd name="connsiteY0" fmla="*/ 1684 h 2116"/>
              <a:gd name="connsiteX1" fmla="*/ 2865 w 3730"/>
              <a:gd name="connsiteY1" fmla="*/ 325 h 2116"/>
              <a:gd name="connsiteX2" fmla="*/ 2670 w 3730"/>
              <a:gd name="connsiteY2" fmla="*/ 166 h 2116"/>
              <a:gd name="connsiteX3" fmla="*/ 3730 w 3730"/>
              <a:gd name="connsiteY3" fmla="*/ 0 h 2116"/>
              <a:gd name="connsiteX4" fmla="*/ 3231 w 3730"/>
              <a:gd name="connsiteY4" fmla="*/ 790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684 h 2116"/>
              <a:gd name="connsiteX0" fmla="*/ 1 w 3730"/>
              <a:gd name="connsiteY0" fmla="*/ 1461 h 2116"/>
              <a:gd name="connsiteX1" fmla="*/ 2865 w 3730"/>
              <a:gd name="connsiteY1" fmla="*/ 325 h 2116"/>
              <a:gd name="connsiteX2" fmla="*/ 2670 w 3730"/>
              <a:gd name="connsiteY2" fmla="*/ 166 h 2116"/>
              <a:gd name="connsiteX3" fmla="*/ 3730 w 3730"/>
              <a:gd name="connsiteY3" fmla="*/ 0 h 2116"/>
              <a:gd name="connsiteX4" fmla="*/ 3231 w 3730"/>
              <a:gd name="connsiteY4" fmla="*/ 790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461 h 2116"/>
              <a:gd name="connsiteX0" fmla="*/ 1 w 3730"/>
              <a:gd name="connsiteY0" fmla="*/ 1461 h 2116"/>
              <a:gd name="connsiteX1" fmla="*/ 2865 w 3730"/>
              <a:gd name="connsiteY1" fmla="*/ 325 h 2116"/>
              <a:gd name="connsiteX2" fmla="*/ 2808 w 3730"/>
              <a:gd name="connsiteY2" fmla="*/ 240 h 2116"/>
              <a:gd name="connsiteX3" fmla="*/ 3730 w 3730"/>
              <a:gd name="connsiteY3" fmla="*/ 0 h 2116"/>
              <a:gd name="connsiteX4" fmla="*/ 3231 w 3730"/>
              <a:gd name="connsiteY4" fmla="*/ 790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461 h 2116"/>
              <a:gd name="connsiteX0" fmla="*/ 1 w 3730"/>
              <a:gd name="connsiteY0" fmla="*/ 1461 h 2116"/>
              <a:gd name="connsiteX1" fmla="*/ 2865 w 3730"/>
              <a:gd name="connsiteY1" fmla="*/ 325 h 2116"/>
              <a:gd name="connsiteX2" fmla="*/ 2808 w 3730"/>
              <a:gd name="connsiteY2" fmla="*/ 240 h 2116"/>
              <a:gd name="connsiteX3" fmla="*/ 3730 w 3730"/>
              <a:gd name="connsiteY3" fmla="*/ 0 h 2116"/>
              <a:gd name="connsiteX4" fmla="*/ 3093 w 3730"/>
              <a:gd name="connsiteY4" fmla="*/ 641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461 h 2116"/>
              <a:gd name="connsiteX0" fmla="*/ 1 w 3730"/>
              <a:gd name="connsiteY0" fmla="*/ 1461 h 2116"/>
              <a:gd name="connsiteX1" fmla="*/ 2865 w 3730"/>
              <a:gd name="connsiteY1" fmla="*/ 325 h 2116"/>
              <a:gd name="connsiteX2" fmla="*/ 2808 w 3730"/>
              <a:gd name="connsiteY2" fmla="*/ 240 h 2116"/>
              <a:gd name="connsiteX3" fmla="*/ 3730 w 3730"/>
              <a:gd name="connsiteY3" fmla="*/ 0 h 2116"/>
              <a:gd name="connsiteX4" fmla="*/ 3093 w 3730"/>
              <a:gd name="connsiteY4" fmla="*/ 641 h 2116"/>
              <a:gd name="connsiteX5" fmla="*/ 3102 w 3730"/>
              <a:gd name="connsiteY5" fmla="*/ 535 h 2116"/>
              <a:gd name="connsiteX6" fmla="*/ 0 w 3730"/>
              <a:gd name="connsiteY6" fmla="*/ 2116 h 2116"/>
              <a:gd name="connsiteX7" fmla="*/ 1 w 3730"/>
              <a:gd name="connsiteY7" fmla="*/ 2116 h 2116"/>
              <a:gd name="connsiteX8" fmla="*/ 1 w 3730"/>
              <a:gd name="connsiteY8" fmla="*/ 1461 h 2116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93 w 3316"/>
              <a:gd name="connsiteY4" fmla="*/ 418 h 1893"/>
              <a:gd name="connsiteX5" fmla="*/ 3102 w 3316"/>
              <a:gd name="connsiteY5" fmla="*/ 312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93 w 3316"/>
              <a:gd name="connsiteY4" fmla="*/ 418 h 1893"/>
              <a:gd name="connsiteX5" fmla="*/ 3033 w 3316"/>
              <a:gd name="connsiteY5" fmla="*/ 312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93 w 3316"/>
              <a:gd name="connsiteY4" fmla="*/ 418 h 1893"/>
              <a:gd name="connsiteX5" fmla="*/ 3033 w 3316"/>
              <a:gd name="connsiteY5" fmla="*/ 312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93 w 3316"/>
              <a:gd name="connsiteY4" fmla="*/ 418 h 1893"/>
              <a:gd name="connsiteX5" fmla="*/ 3033 w 3316"/>
              <a:gd name="connsiteY5" fmla="*/ 312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93 w 3316"/>
              <a:gd name="connsiteY4" fmla="*/ 418 h 1893"/>
              <a:gd name="connsiteX5" fmla="*/ 3033 w 3316"/>
              <a:gd name="connsiteY5" fmla="*/ 312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93 w 3316"/>
              <a:gd name="connsiteY4" fmla="*/ 418 h 1893"/>
              <a:gd name="connsiteX5" fmla="*/ 0 w 3316"/>
              <a:gd name="connsiteY5" fmla="*/ 1893 h 1893"/>
              <a:gd name="connsiteX6" fmla="*/ 1 w 3316"/>
              <a:gd name="connsiteY6" fmla="*/ 1893 h 1893"/>
              <a:gd name="connsiteX7" fmla="*/ 1 w 3316"/>
              <a:gd name="connsiteY7" fmla="*/ 1238 h 1893"/>
              <a:gd name="connsiteX0" fmla="*/ 1 w 3557"/>
              <a:gd name="connsiteY0" fmla="*/ 1238 h 1893"/>
              <a:gd name="connsiteX1" fmla="*/ 2865 w 3557"/>
              <a:gd name="connsiteY1" fmla="*/ 102 h 1893"/>
              <a:gd name="connsiteX2" fmla="*/ 2808 w 3557"/>
              <a:gd name="connsiteY2" fmla="*/ 17 h 1893"/>
              <a:gd name="connsiteX3" fmla="*/ 3316 w 3557"/>
              <a:gd name="connsiteY3" fmla="*/ 0 h 1893"/>
              <a:gd name="connsiteX4" fmla="*/ 3093 w 3557"/>
              <a:gd name="connsiteY4" fmla="*/ 418 h 1893"/>
              <a:gd name="connsiteX5" fmla="*/ 3041 w 3557"/>
              <a:gd name="connsiteY5" fmla="*/ 445 h 1893"/>
              <a:gd name="connsiteX6" fmla="*/ 0 w 3557"/>
              <a:gd name="connsiteY6" fmla="*/ 1893 h 1893"/>
              <a:gd name="connsiteX7" fmla="*/ 1 w 3557"/>
              <a:gd name="connsiteY7" fmla="*/ 1893 h 1893"/>
              <a:gd name="connsiteX8" fmla="*/ 1 w 3557"/>
              <a:gd name="connsiteY8" fmla="*/ 1238 h 1893"/>
              <a:gd name="connsiteX0" fmla="*/ 1 w 3557"/>
              <a:gd name="connsiteY0" fmla="*/ 1238 h 1893"/>
              <a:gd name="connsiteX1" fmla="*/ 2865 w 3557"/>
              <a:gd name="connsiteY1" fmla="*/ 102 h 1893"/>
              <a:gd name="connsiteX2" fmla="*/ 2808 w 3557"/>
              <a:gd name="connsiteY2" fmla="*/ 17 h 1893"/>
              <a:gd name="connsiteX3" fmla="*/ 3316 w 3557"/>
              <a:gd name="connsiteY3" fmla="*/ 0 h 1893"/>
              <a:gd name="connsiteX4" fmla="*/ 3093 w 3557"/>
              <a:gd name="connsiteY4" fmla="*/ 418 h 1893"/>
              <a:gd name="connsiteX5" fmla="*/ 3041 w 3557"/>
              <a:gd name="connsiteY5" fmla="*/ 445 h 1893"/>
              <a:gd name="connsiteX6" fmla="*/ 3041 w 3557"/>
              <a:gd name="connsiteY6" fmla="*/ 285 h 1893"/>
              <a:gd name="connsiteX7" fmla="*/ 0 w 3557"/>
              <a:gd name="connsiteY7" fmla="*/ 1893 h 1893"/>
              <a:gd name="connsiteX8" fmla="*/ 1 w 3557"/>
              <a:gd name="connsiteY8" fmla="*/ 1893 h 1893"/>
              <a:gd name="connsiteX9" fmla="*/ 1 w 3557"/>
              <a:gd name="connsiteY9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41 w 3316"/>
              <a:gd name="connsiteY4" fmla="*/ 445 h 1893"/>
              <a:gd name="connsiteX5" fmla="*/ 3041 w 3316"/>
              <a:gd name="connsiteY5" fmla="*/ 285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41 w 3316"/>
              <a:gd name="connsiteY4" fmla="*/ 445 h 1893"/>
              <a:gd name="connsiteX5" fmla="*/ 3003 w 3316"/>
              <a:gd name="connsiteY5" fmla="*/ 285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41 w 3316"/>
              <a:gd name="connsiteY4" fmla="*/ 392 h 1893"/>
              <a:gd name="connsiteX5" fmla="*/ 3003 w 3316"/>
              <a:gd name="connsiteY5" fmla="*/ 285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41 w 3316"/>
              <a:gd name="connsiteY4" fmla="*/ 392 h 1893"/>
              <a:gd name="connsiteX5" fmla="*/ 3003 w 3316"/>
              <a:gd name="connsiteY5" fmla="*/ 285 h 1893"/>
              <a:gd name="connsiteX6" fmla="*/ 0 w 3316"/>
              <a:gd name="connsiteY6" fmla="*/ 1893 h 1893"/>
              <a:gd name="connsiteX7" fmla="*/ 1 w 3316"/>
              <a:gd name="connsiteY7" fmla="*/ 1893 h 1893"/>
              <a:gd name="connsiteX8" fmla="*/ 1 w 3316"/>
              <a:gd name="connsiteY8" fmla="*/ 1238 h 1893"/>
              <a:gd name="connsiteX0" fmla="*/ 1 w 3316"/>
              <a:gd name="connsiteY0" fmla="*/ 1238 h 1893"/>
              <a:gd name="connsiteX1" fmla="*/ 2865 w 3316"/>
              <a:gd name="connsiteY1" fmla="*/ 102 h 1893"/>
              <a:gd name="connsiteX2" fmla="*/ 2808 w 3316"/>
              <a:gd name="connsiteY2" fmla="*/ 17 h 1893"/>
              <a:gd name="connsiteX3" fmla="*/ 3316 w 3316"/>
              <a:gd name="connsiteY3" fmla="*/ 0 h 1893"/>
              <a:gd name="connsiteX4" fmla="*/ 3041 w 3316"/>
              <a:gd name="connsiteY4" fmla="*/ 392 h 1893"/>
              <a:gd name="connsiteX5" fmla="*/ 3003 w 3316"/>
              <a:gd name="connsiteY5" fmla="*/ 285 h 1893"/>
              <a:gd name="connsiteX6" fmla="*/ 1961 w 3316"/>
              <a:gd name="connsiteY6" fmla="*/ 1138 h 1893"/>
              <a:gd name="connsiteX7" fmla="*/ 0 w 3316"/>
              <a:gd name="connsiteY7" fmla="*/ 1893 h 1893"/>
              <a:gd name="connsiteX8" fmla="*/ 1 w 3316"/>
              <a:gd name="connsiteY8" fmla="*/ 1893 h 1893"/>
              <a:gd name="connsiteX9" fmla="*/ 1 w 3316"/>
              <a:gd name="connsiteY9" fmla="*/ 1238 h 1893"/>
              <a:gd name="connsiteX0" fmla="*/ 1 w 3733"/>
              <a:gd name="connsiteY0" fmla="*/ 1221 h 1876"/>
              <a:gd name="connsiteX1" fmla="*/ 2865 w 3733"/>
              <a:gd name="connsiteY1" fmla="*/ 85 h 1876"/>
              <a:gd name="connsiteX2" fmla="*/ 2808 w 3733"/>
              <a:gd name="connsiteY2" fmla="*/ 0 h 1876"/>
              <a:gd name="connsiteX3" fmla="*/ 3733 w 3733"/>
              <a:gd name="connsiteY3" fmla="*/ 222 h 1876"/>
              <a:gd name="connsiteX4" fmla="*/ 3041 w 3733"/>
              <a:gd name="connsiteY4" fmla="*/ 375 h 1876"/>
              <a:gd name="connsiteX5" fmla="*/ 3003 w 3733"/>
              <a:gd name="connsiteY5" fmla="*/ 268 h 1876"/>
              <a:gd name="connsiteX6" fmla="*/ 1961 w 3733"/>
              <a:gd name="connsiteY6" fmla="*/ 1121 h 1876"/>
              <a:gd name="connsiteX7" fmla="*/ 0 w 3733"/>
              <a:gd name="connsiteY7" fmla="*/ 1876 h 1876"/>
              <a:gd name="connsiteX8" fmla="*/ 1 w 3733"/>
              <a:gd name="connsiteY8" fmla="*/ 1876 h 1876"/>
              <a:gd name="connsiteX9" fmla="*/ 1 w 3733"/>
              <a:gd name="connsiteY9" fmla="*/ 1221 h 1876"/>
              <a:gd name="connsiteX0" fmla="*/ 1 w 3733"/>
              <a:gd name="connsiteY0" fmla="*/ 1221 h 1876"/>
              <a:gd name="connsiteX1" fmla="*/ 2865 w 3733"/>
              <a:gd name="connsiteY1" fmla="*/ 85 h 1876"/>
              <a:gd name="connsiteX2" fmla="*/ 2808 w 3733"/>
              <a:gd name="connsiteY2" fmla="*/ 0 h 1876"/>
              <a:gd name="connsiteX3" fmla="*/ 3733 w 3733"/>
              <a:gd name="connsiteY3" fmla="*/ 222 h 1876"/>
              <a:gd name="connsiteX4" fmla="*/ 3313 w 3733"/>
              <a:gd name="connsiteY4" fmla="*/ 686 h 1876"/>
              <a:gd name="connsiteX5" fmla="*/ 3003 w 3733"/>
              <a:gd name="connsiteY5" fmla="*/ 268 h 1876"/>
              <a:gd name="connsiteX6" fmla="*/ 1961 w 3733"/>
              <a:gd name="connsiteY6" fmla="*/ 1121 h 1876"/>
              <a:gd name="connsiteX7" fmla="*/ 0 w 3733"/>
              <a:gd name="connsiteY7" fmla="*/ 1876 h 1876"/>
              <a:gd name="connsiteX8" fmla="*/ 1 w 3733"/>
              <a:gd name="connsiteY8" fmla="*/ 1876 h 1876"/>
              <a:gd name="connsiteX9" fmla="*/ 1 w 3733"/>
              <a:gd name="connsiteY9" fmla="*/ 1221 h 1876"/>
              <a:gd name="connsiteX0" fmla="*/ 1 w 3733"/>
              <a:gd name="connsiteY0" fmla="*/ 1221 h 1876"/>
              <a:gd name="connsiteX1" fmla="*/ 2865 w 3733"/>
              <a:gd name="connsiteY1" fmla="*/ 85 h 1876"/>
              <a:gd name="connsiteX2" fmla="*/ 2808 w 3733"/>
              <a:gd name="connsiteY2" fmla="*/ 0 h 1876"/>
              <a:gd name="connsiteX3" fmla="*/ 3733 w 3733"/>
              <a:gd name="connsiteY3" fmla="*/ 222 h 1876"/>
              <a:gd name="connsiteX4" fmla="*/ 3313 w 3733"/>
              <a:gd name="connsiteY4" fmla="*/ 686 h 1876"/>
              <a:gd name="connsiteX5" fmla="*/ 3192 w 3733"/>
              <a:gd name="connsiteY5" fmla="*/ 489 h 1876"/>
              <a:gd name="connsiteX6" fmla="*/ 1961 w 3733"/>
              <a:gd name="connsiteY6" fmla="*/ 1121 h 1876"/>
              <a:gd name="connsiteX7" fmla="*/ 0 w 3733"/>
              <a:gd name="connsiteY7" fmla="*/ 1876 h 1876"/>
              <a:gd name="connsiteX8" fmla="*/ 1 w 3733"/>
              <a:gd name="connsiteY8" fmla="*/ 1876 h 1876"/>
              <a:gd name="connsiteX9" fmla="*/ 1 w 3733"/>
              <a:gd name="connsiteY9" fmla="*/ 1221 h 1876"/>
              <a:gd name="connsiteX0" fmla="*/ 1 w 3733"/>
              <a:gd name="connsiteY0" fmla="*/ 1221 h 1876"/>
              <a:gd name="connsiteX1" fmla="*/ 3098 w 3733"/>
              <a:gd name="connsiteY1" fmla="*/ 235 h 1876"/>
              <a:gd name="connsiteX2" fmla="*/ 2808 w 3733"/>
              <a:gd name="connsiteY2" fmla="*/ 0 h 1876"/>
              <a:gd name="connsiteX3" fmla="*/ 3733 w 3733"/>
              <a:gd name="connsiteY3" fmla="*/ 222 h 1876"/>
              <a:gd name="connsiteX4" fmla="*/ 3313 w 3733"/>
              <a:gd name="connsiteY4" fmla="*/ 686 h 1876"/>
              <a:gd name="connsiteX5" fmla="*/ 3192 w 3733"/>
              <a:gd name="connsiteY5" fmla="*/ 489 h 1876"/>
              <a:gd name="connsiteX6" fmla="*/ 1961 w 3733"/>
              <a:gd name="connsiteY6" fmla="*/ 1121 h 1876"/>
              <a:gd name="connsiteX7" fmla="*/ 0 w 3733"/>
              <a:gd name="connsiteY7" fmla="*/ 1876 h 1876"/>
              <a:gd name="connsiteX8" fmla="*/ 1 w 3733"/>
              <a:gd name="connsiteY8" fmla="*/ 1876 h 1876"/>
              <a:gd name="connsiteX9" fmla="*/ 1 w 3733"/>
              <a:gd name="connsiteY9" fmla="*/ 1221 h 1876"/>
              <a:gd name="connsiteX0" fmla="*/ 1 w 3733"/>
              <a:gd name="connsiteY0" fmla="*/ 1221 h 1876"/>
              <a:gd name="connsiteX1" fmla="*/ 3098 w 3733"/>
              <a:gd name="connsiteY1" fmla="*/ 235 h 1876"/>
              <a:gd name="connsiteX2" fmla="*/ 2808 w 3733"/>
              <a:gd name="connsiteY2" fmla="*/ 0 h 1876"/>
              <a:gd name="connsiteX3" fmla="*/ 2979 w 3733"/>
              <a:gd name="connsiteY3" fmla="*/ 110 h 1876"/>
              <a:gd name="connsiteX4" fmla="*/ 3733 w 3733"/>
              <a:gd name="connsiteY4" fmla="*/ 222 h 1876"/>
              <a:gd name="connsiteX5" fmla="*/ 3313 w 3733"/>
              <a:gd name="connsiteY5" fmla="*/ 686 h 1876"/>
              <a:gd name="connsiteX6" fmla="*/ 3192 w 3733"/>
              <a:gd name="connsiteY6" fmla="*/ 489 h 1876"/>
              <a:gd name="connsiteX7" fmla="*/ 1961 w 3733"/>
              <a:gd name="connsiteY7" fmla="*/ 1121 h 1876"/>
              <a:gd name="connsiteX8" fmla="*/ 0 w 3733"/>
              <a:gd name="connsiteY8" fmla="*/ 1876 h 1876"/>
              <a:gd name="connsiteX9" fmla="*/ 1 w 3733"/>
              <a:gd name="connsiteY9" fmla="*/ 1876 h 1876"/>
              <a:gd name="connsiteX10" fmla="*/ 1 w 3733"/>
              <a:gd name="connsiteY10" fmla="*/ 1221 h 1876"/>
              <a:gd name="connsiteX0" fmla="*/ 1 w 3733"/>
              <a:gd name="connsiteY0" fmla="*/ 1221 h 1876"/>
              <a:gd name="connsiteX1" fmla="*/ 1733 w 3733"/>
              <a:gd name="connsiteY1" fmla="*/ 768 h 1876"/>
              <a:gd name="connsiteX2" fmla="*/ 3098 w 3733"/>
              <a:gd name="connsiteY2" fmla="*/ 235 h 1876"/>
              <a:gd name="connsiteX3" fmla="*/ 2808 w 3733"/>
              <a:gd name="connsiteY3" fmla="*/ 0 h 1876"/>
              <a:gd name="connsiteX4" fmla="*/ 2979 w 3733"/>
              <a:gd name="connsiteY4" fmla="*/ 110 h 1876"/>
              <a:gd name="connsiteX5" fmla="*/ 3733 w 3733"/>
              <a:gd name="connsiteY5" fmla="*/ 222 h 1876"/>
              <a:gd name="connsiteX6" fmla="*/ 3313 w 3733"/>
              <a:gd name="connsiteY6" fmla="*/ 686 h 1876"/>
              <a:gd name="connsiteX7" fmla="*/ 3192 w 3733"/>
              <a:gd name="connsiteY7" fmla="*/ 489 h 1876"/>
              <a:gd name="connsiteX8" fmla="*/ 1961 w 3733"/>
              <a:gd name="connsiteY8" fmla="*/ 1121 h 1876"/>
              <a:gd name="connsiteX9" fmla="*/ 0 w 3733"/>
              <a:gd name="connsiteY9" fmla="*/ 1876 h 1876"/>
              <a:gd name="connsiteX10" fmla="*/ 1 w 3733"/>
              <a:gd name="connsiteY10" fmla="*/ 1876 h 1876"/>
              <a:gd name="connsiteX11" fmla="*/ 1 w 3733"/>
              <a:gd name="connsiteY11" fmla="*/ 1221 h 1876"/>
              <a:gd name="connsiteX0" fmla="*/ 1 w 3733"/>
              <a:gd name="connsiteY0" fmla="*/ 1221 h 1876"/>
              <a:gd name="connsiteX1" fmla="*/ 1733 w 3733"/>
              <a:gd name="connsiteY1" fmla="*/ 768 h 1876"/>
              <a:gd name="connsiteX2" fmla="*/ 3098 w 3733"/>
              <a:gd name="connsiteY2" fmla="*/ 235 h 1876"/>
              <a:gd name="connsiteX3" fmla="*/ 2808 w 3733"/>
              <a:gd name="connsiteY3" fmla="*/ 0 h 1876"/>
              <a:gd name="connsiteX4" fmla="*/ 2979 w 3733"/>
              <a:gd name="connsiteY4" fmla="*/ 110 h 1876"/>
              <a:gd name="connsiteX5" fmla="*/ 3733 w 3733"/>
              <a:gd name="connsiteY5" fmla="*/ 222 h 1876"/>
              <a:gd name="connsiteX6" fmla="*/ 3313 w 3733"/>
              <a:gd name="connsiteY6" fmla="*/ 686 h 1876"/>
              <a:gd name="connsiteX7" fmla="*/ 3192 w 3733"/>
              <a:gd name="connsiteY7" fmla="*/ 489 h 1876"/>
              <a:gd name="connsiteX8" fmla="*/ 1961 w 3733"/>
              <a:gd name="connsiteY8" fmla="*/ 1121 h 1876"/>
              <a:gd name="connsiteX9" fmla="*/ 0 w 3733"/>
              <a:gd name="connsiteY9" fmla="*/ 1876 h 1876"/>
              <a:gd name="connsiteX10" fmla="*/ 1 w 3733"/>
              <a:gd name="connsiteY10" fmla="*/ 1876 h 1876"/>
              <a:gd name="connsiteX11" fmla="*/ 1 w 3733"/>
              <a:gd name="connsiteY11" fmla="*/ 1221 h 1876"/>
              <a:gd name="connsiteX0" fmla="*/ 1 w 3733"/>
              <a:gd name="connsiteY0" fmla="*/ 1221 h 1876"/>
              <a:gd name="connsiteX1" fmla="*/ 1733 w 3733"/>
              <a:gd name="connsiteY1" fmla="*/ 768 h 1876"/>
              <a:gd name="connsiteX2" fmla="*/ 3098 w 3733"/>
              <a:gd name="connsiteY2" fmla="*/ 235 h 1876"/>
              <a:gd name="connsiteX3" fmla="*/ 2808 w 3733"/>
              <a:gd name="connsiteY3" fmla="*/ 0 h 1876"/>
              <a:gd name="connsiteX4" fmla="*/ 2979 w 3733"/>
              <a:gd name="connsiteY4" fmla="*/ 110 h 1876"/>
              <a:gd name="connsiteX5" fmla="*/ 3733 w 3733"/>
              <a:gd name="connsiteY5" fmla="*/ 222 h 1876"/>
              <a:gd name="connsiteX6" fmla="*/ 3313 w 3733"/>
              <a:gd name="connsiteY6" fmla="*/ 686 h 1876"/>
              <a:gd name="connsiteX7" fmla="*/ 3192 w 3733"/>
              <a:gd name="connsiteY7" fmla="*/ 489 h 1876"/>
              <a:gd name="connsiteX8" fmla="*/ 1961 w 3733"/>
              <a:gd name="connsiteY8" fmla="*/ 1121 h 1876"/>
              <a:gd name="connsiteX9" fmla="*/ 0 w 3733"/>
              <a:gd name="connsiteY9" fmla="*/ 1876 h 1876"/>
              <a:gd name="connsiteX10" fmla="*/ 1 w 3733"/>
              <a:gd name="connsiteY10" fmla="*/ 1876 h 1876"/>
              <a:gd name="connsiteX11" fmla="*/ 1 w 3733"/>
              <a:gd name="connsiteY11" fmla="*/ 1221 h 1876"/>
              <a:gd name="connsiteX0" fmla="*/ 1 w 3733"/>
              <a:gd name="connsiteY0" fmla="*/ 1221 h 1876"/>
              <a:gd name="connsiteX1" fmla="*/ 1733 w 3733"/>
              <a:gd name="connsiteY1" fmla="*/ 768 h 1876"/>
              <a:gd name="connsiteX2" fmla="*/ 3098 w 3733"/>
              <a:gd name="connsiteY2" fmla="*/ 235 h 1876"/>
              <a:gd name="connsiteX3" fmla="*/ 2808 w 3733"/>
              <a:gd name="connsiteY3" fmla="*/ 0 h 1876"/>
              <a:gd name="connsiteX4" fmla="*/ 2979 w 3733"/>
              <a:gd name="connsiteY4" fmla="*/ 110 h 1876"/>
              <a:gd name="connsiteX5" fmla="*/ 3733 w 3733"/>
              <a:gd name="connsiteY5" fmla="*/ 222 h 1876"/>
              <a:gd name="connsiteX6" fmla="*/ 3313 w 3733"/>
              <a:gd name="connsiteY6" fmla="*/ 686 h 1876"/>
              <a:gd name="connsiteX7" fmla="*/ 3192 w 3733"/>
              <a:gd name="connsiteY7" fmla="*/ 489 h 1876"/>
              <a:gd name="connsiteX8" fmla="*/ 1961 w 3733"/>
              <a:gd name="connsiteY8" fmla="*/ 1121 h 1876"/>
              <a:gd name="connsiteX9" fmla="*/ 0 w 3733"/>
              <a:gd name="connsiteY9" fmla="*/ 1876 h 1876"/>
              <a:gd name="connsiteX10" fmla="*/ 1 w 3733"/>
              <a:gd name="connsiteY10" fmla="*/ 1876 h 1876"/>
              <a:gd name="connsiteX11" fmla="*/ 1 w 3733"/>
              <a:gd name="connsiteY11" fmla="*/ 1221 h 1876"/>
              <a:gd name="connsiteX0" fmla="*/ 2979 w 3733"/>
              <a:gd name="connsiteY0" fmla="*/ 82 h 1848"/>
              <a:gd name="connsiteX1" fmla="*/ 3733 w 3733"/>
              <a:gd name="connsiteY1" fmla="*/ 194 h 1848"/>
              <a:gd name="connsiteX2" fmla="*/ 3313 w 3733"/>
              <a:gd name="connsiteY2" fmla="*/ 658 h 1848"/>
              <a:gd name="connsiteX3" fmla="*/ 3192 w 3733"/>
              <a:gd name="connsiteY3" fmla="*/ 461 h 1848"/>
              <a:gd name="connsiteX4" fmla="*/ 1961 w 3733"/>
              <a:gd name="connsiteY4" fmla="*/ 1093 h 1848"/>
              <a:gd name="connsiteX5" fmla="*/ 0 w 3733"/>
              <a:gd name="connsiteY5" fmla="*/ 1848 h 1848"/>
              <a:gd name="connsiteX6" fmla="*/ 1 w 3733"/>
              <a:gd name="connsiteY6" fmla="*/ 1848 h 1848"/>
              <a:gd name="connsiteX7" fmla="*/ 1 w 3733"/>
              <a:gd name="connsiteY7" fmla="*/ 1193 h 1848"/>
              <a:gd name="connsiteX8" fmla="*/ 1733 w 3733"/>
              <a:gd name="connsiteY8" fmla="*/ 740 h 1848"/>
              <a:gd name="connsiteX9" fmla="*/ 3098 w 3733"/>
              <a:gd name="connsiteY9" fmla="*/ 207 h 1848"/>
              <a:gd name="connsiteX10" fmla="*/ 2896 w 3733"/>
              <a:gd name="connsiteY10" fmla="*/ 67 h 1848"/>
              <a:gd name="connsiteX0" fmla="*/ 2979 w 3733"/>
              <a:gd name="connsiteY0" fmla="*/ 0 h 1766"/>
              <a:gd name="connsiteX1" fmla="*/ 3733 w 3733"/>
              <a:gd name="connsiteY1" fmla="*/ 112 h 1766"/>
              <a:gd name="connsiteX2" fmla="*/ 3313 w 3733"/>
              <a:gd name="connsiteY2" fmla="*/ 576 h 1766"/>
              <a:gd name="connsiteX3" fmla="*/ 3192 w 3733"/>
              <a:gd name="connsiteY3" fmla="*/ 379 h 1766"/>
              <a:gd name="connsiteX4" fmla="*/ 1961 w 3733"/>
              <a:gd name="connsiteY4" fmla="*/ 1011 h 1766"/>
              <a:gd name="connsiteX5" fmla="*/ 0 w 3733"/>
              <a:gd name="connsiteY5" fmla="*/ 1766 h 1766"/>
              <a:gd name="connsiteX6" fmla="*/ 1 w 3733"/>
              <a:gd name="connsiteY6" fmla="*/ 1766 h 1766"/>
              <a:gd name="connsiteX7" fmla="*/ 1 w 3733"/>
              <a:gd name="connsiteY7" fmla="*/ 1111 h 1766"/>
              <a:gd name="connsiteX8" fmla="*/ 1733 w 3733"/>
              <a:gd name="connsiteY8" fmla="*/ 658 h 1766"/>
              <a:gd name="connsiteX9" fmla="*/ 3098 w 3733"/>
              <a:gd name="connsiteY9" fmla="*/ 125 h 1766"/>
              <a:gd name="connsiteX0" fmla="*/ 2979 w 3733"/>
              <a:gd name="connsiteY0" fmla="*/ 0 h 1766"/>
              <a:gd name="connsiteX1" fmla="*/ 3733 w 3733"/>
              <a:gd name="connsiteY1" fmla="*/ 112 h 1766"/>
              <a:gd name="connsiteX2" fmla="*/ 3313 w 3733"/>
              <a:gd name="connsiteY2" fmla="*/ 576 h 1766"/>
              <a:gd name="connsiteX3" fmla="*/ 3192 w 3733"/>
              <a:gd name="connsiteY3" fmla="*/ 379 h 1766"/>
              <a:gd name="connsiteX4" fmla="*/ 1961 w 3733"/>
              <a:gd name="connsiteY4" fmla="*/ 1011 h 1766"/>
              <a:gd name="connsiteX5" fmla="*/ 0 w 3733"/>
              <a:gd name="connsiteY5" fmla="*/ 1766 h 1766"/>
              <a:gd name="connsiteX6" fmla="*/ 1 w 3733"/>
              <a:gd name="connsiteY6" fmla="*/ 1766 h 1766"/>
              <a:gd name="connsiteX7" fmla="*/ 1 w 3733"/>
              <a:gd name="connsiteY7" fmla="*/ 1111 h 1766"/>
              <a:gd name="connsiteX8" fmla="*/ 1733 w 3733"/>
              <a:gd name="connsiteY8" fmla="*/ 658 h 1766"/>
              <a:gd name="connsiteX9" fmla="*/ 3098 w 3733"/>
              <a:gd name="connsiteY9" fmla="*/ 125 h 1766"/>
              <a:gd name="connsiteX0" fmla="*/ 2979 w 3733"/>
              <a:gd name="connsiteY0" fmla="*/ 0 h 1766"/>
              <a:gd name="connsiteX1" fmla="*/ 3733 w 3733"/>
              <a:gd name="connsiteY1" fmla="*/ 112 h 1766"/>
              <a:gd name="connsiteX2" fmla="*/ 3313 w 3733"/>
              <a:gd name="connsiteY2" fmla="*/ 576 h 1766"/>
              <a:gd name="connsiteX3" fmla="*/ 3192 w 3733"/>
              <a:gd name="connsiteY3" fmla="*/ 379 h 1766"/>
              <a:gd name="connsiteX4" fmla="*/ 1961 w 3733"/>
              <a:gd name="connsiteY4" fmla="*/ 1011 h 1766"/>
              <a:gd name="connsiteX5" fmla="*/ 0 w 3733"/>
              <a:gd name="connsiteY5" fmla="*/ 1766 h 1766"/>
              <a:gd name="connsiteX6" fmla="*/ 1 w 3733"/>
              <a:gd name="connsiteY6" fmla="*/ 1766 h 1766"/>
              <a:gd name="connsiteX7" fmla="*/ 1 w 3733"/>
              <a:gd name="connsiteY7" fmla="*/ 1111 h 1766"/>
              <a:gd name="connsiteX8" fmla="*/ 1733 w 3733"/>
              <a:gd name="connsiteY8" fmla="*/ 658 h 1766"/>
              <a:gd name="connsiteX9" fmla="*/ 3098 w 3733"/>
              <a:gd name="connsiteY9" fmla="*/ 125 h 1766"/>
              <a:gd name="connsiteX0" fmla="*/ 2979 w 3733"/>
              <a:gd name="connsiteY0" fmla="*/ 0 h 1766"/>
              <a:gd name="connsiteX1" fmla="*/ 3733 w 3733"/>
              <a:gd name="connsiteY1" fmla="*/ 112 h 1766"/>
              <a:gd name="connsiteX2" fmla="*/ 3313 w 3733"/>
              <a:gd name="connsiteY2" fmla="*/ 576 h 1766"/>
              <a:gd name="connsiteX3" fmla="*/ 3192 w 3733"/>
              <a:gd name="connsiteY3" fmla="*/ 379 h 1766"/>
              <a:gd name="connsiteX4" fmla="*/ 1961 w 3733"/>
              <a:gd name="connsiteY4" fmla="*/ 1011 h 1766"/>
              <a:gd name="connsiteX5" fmla="*/ 0 w 3733"/>
              <a:gd name="connsiteY5" fmla="*/ 1766 h 1766"/>
              <a:gd name="connsiteX6" fmla="*/ 1 w 3733"/>
              <a:gd name="connsiteY6" fmla="*/ 1766 h 1766"/>
              <a:gd name="connsiteX7" fmla="*/ 1 w 3733"/>
              <a:gd name="connsiteY7" fmla="*/ 1111 h 1766"/>
              <a:gd name="connsiteX8" fmla="*/ 1733 w 3733"/>
              <a:gd name="connsiteY8" fmla="*/ 658 h 1766"/>
              <a:gd name="connsiteX9" fmla="*/ 3098 w 3733"/>
              <a:gd name="connsiteY9" fmla="*/ 125 h 1766"/>
              <a:gd name="connsiteX0" fmla="*/ 2979 w 3733"/>
              <a:gd name="connsiteY0" fmla="*/ 0 h 1766"/>
              <a:gd name="connsiteX1" fmla="*/ 3733 w 3733"/>
              <a:gd name="connsiteY1" fmla="*/ 112 h 1766"/>
              <a:gd name="connsiteX2" fmla="*/ 3313 w 3733"/>
              <a:gd name="connsiteY2" fmla="*/ 576 h 1766"/>
              <a:gd name="connsiteX3" fmla="*/ 3259 w 3733"/>
              <a:gd name="connsiteY3" fmla="*/ 379 h 1766"/>
              <a:gd name="connsiteX4" fmla="*/ 1961 w 3733"/>
              <a:gd name="connsiteY4" fmla="*/ 1011 h 1766"/>
              <a:gd name="connsiteX5" fmla="*/ 0 w 3733"/>
              <a:gd name="connsiteY5" fmla="*/ 1766 h 1766"/>
              <a:gd name="connsiteX6" fmla="*/ 1 w 3733"/>
              <a:gd name="connsiteY6" fmla="*/ 1766 h 1766"/>
              <a:gd name="connsiteX7" fmla="*/ 1 w 3733"/>
              <a:gd name="connsiteY7" fmla="*/ 1111 h 1766"/>
              <a:gd name="connsiteX8" fmla="*/ 1733 w 3733"/>
              <a:gd name="connsiteY8" fmla="*/ 658 h 1766"/>
              <a:gd name="connsiteX9" fmla="*/ 3098 w 3733"/>
              <a:gd name="connsiteY9" fmla="*/ 125 h 1766"/>
              <a:gd name="connsiteX0" fmla="*/ 2979 w 3733"/>
              <a:gd name="connsiteY0" fmla="*/ 0 h 1766"/>
              <a:gd name="connsiteX1" fmla="*/ 3733 w 3733"/>
              <a:gd name="connsiteY1" fmla="*/ 112 h 1766"/>
              <a:gd name="connsiteX2" fmla="*/ 3313 w 3733"/>
              <a:gd name="connsiteY2" fmla="*/ 576 h 1766"/>
              <a:gd name="connsiteX3" fmla="*/ 3259 w 3733"/>
              <a:gd name="connsiteY3" fmla="*/ 379 h 1766"/>
              <a:gd name="connsiteX4" fmla="*/ 1961 w 3733"/>
              <a:gd name="connsiteY4" fmla="*/ 1011 h 1766"/>
              <a:gd name="connsiteX5" fmla="*/ 0 w 3733"/>
              <a:gd name="connsiteY5" fmla="*/ 1766 h 1766"/>
              <a:gd name="connsiteX6" fmla="*/ 1 w 3733"/>
              <a:gd name="connsiteY6" fmla="*/ 1766 h 1766"/>
              <a:gd name="connsiteX7" fmla="*/ 1 w 3733"/>
              <a:gd name="connsiteY7" fmla="*/ 1111 h 1766"/>
              <a:gd name="connsiteX8" fmla="*/ 1733 w 3733"/>
              <a:gd name="connsiteY8" fmla="*/ 658 h 1766"/>
              <a:gd name="connsiteX9" fmla="*/ 3170 w 3733"/>
              <a:gd name="connsiteY9" fmla="*/ 197 h 1766"/>
              <a:gd name="connsiteX0" fmla="*/ 2979 w 3733"/>
              <a:gd name="connsiteY0" fmla="*/ 0 h 1766"/>
              <a:gd name="connsiteX1" fmla="*/ 3733 w 3733"/>
              <a:gd name="connsiteY1" fmla="*/ 112 h 1766"/>
              <a:gd name="connsiteX2" fmla="*/ 3313 w 3733"/>
              <a:gd name="connsiteY2" fmla="*/ 576 h 1766"/>
              <a:gd name="connsiteX3" fmla="*/ 3259 w 3733"/>
              <a:gd name="connsiteY3" fmla="*/ 379 h 1766"/>
              <a:gd name="connsiteX4" fmla="*/ 1961 w 3733"/>
              <a:gd name="connsiteY4" fmla="*/ 1011 h 1766"/>
              <a:gd name="connsiteX5" fmla="*/ 0 w 3733"/>
              <a:gd name="connsiteY5" fmla="*/ 1766 h 1766"/>
              <a:gd name="connsiteX6" fmla="*/ 1 w 3733"/>
              <a:gd name="connsiteY6" fmla="*/ 1766 h 1766"/>
              <a:gd name="connsiteX7" fmla="*/ 1 w 3733"/>
              <a:gd name="connsiteY7" fmla="*/ 1111 h 1766"/>
              <a:gd name="connsiteX8" fmla="*/ 1733 w 3733"/>
              <a:gd name="connsiteY8" fmla="*/ 658 h 1766"/>
              <a:gd name="connsiteX9" fmla="*/ 3170 w 3733"/>
              <a:gd name="connsiteY9" fmla="*/ 197 h 1766"/>
              <a:gd name="connsiteX0" fmla="*/ 3079 w 3733"/>
              <a:gd name="connsiteY0" fmla="*/ 0 h 1688"/>
              <a:gd name="connsiteX1" fmla="*/ 3733 w 3733"/>
              <a:gd name="connsiteY1" fmla="*/ 34 h 1688"/>
              <a:gd name="connsiteX2" fmla="*/ 3313 w 3733"/>
              <a:gd name="connsiteY2" fmla="*/ 498 h 1688"/>
              <a:gd name="connsiteX3" fmla="*/ 3259 w 3733"/>
              <a:gd name="connsiteY3" fmla="*/ 301 h 1688"/>
              <a:gd name="connsiteX4" fmla="*/ 1961 w 3733"/>
              <a:gd name="connsiteY4" fmla="*/ 933 h 1688"/>
              <a:gd name="connsiteX5" fmla="*/ 0 w 3733"/>
              <a:gd name="connsiteY5" fmla="*/ 1688 h 1688"/>
              <a:gd name="connsiteX6" fmla="*/ 1 w 3733"/>
              <a:gd name="connsiteY6" fmla="*/ 1688 h 1688"/>
              <a:gd name="connsiteX7" fmla="*/ 1 w 3733"/>
              <a:gd name="connsiteY7" fmla="*/ 1033 h 1688"/>
              <a:gd name="connsiteX8" fmla="*/ 1733 w 3733"/>
              <a:gd name="connsiteY8" fmla="*/ 580 h 1688"/>
              <a:gd name="connsiteX9" fmla="*/ 3170 w 3733"/>
              <a:gd name="connsiteY9" fmla="*/ 119 h 1688"/>
              <a:gd name="connsiteX0" fmla="*/ 3079 w 3733"/>
              <a:gd name="connsiteY0" fmla="*/ 0 h 1688"/>
              <a:gd name="connsiteX1" fmla="*/ 3733 w 3733"/>
              <a:gd name="connsiteY1" fmla="*/ 34 h 1688"/>
              <a:gd name="connsiteX2" fmla="*/ 3313 w 3733"/>
              <a:gd name="connsiteY2" fmla="*/ 498 h 1688"/>
              <a:gd name="connsiteX3" fmla="*/ 3259 w 3733"/>
              <a:gd name="connsiteY3" fmla="*/ 301 h 1688"/>
              <a:gd name="connsiteX4" fmla="*/ 1961 w 3733"/>
              <a:gd name="connsiteY4" fmla="*/ 933 h 1688"/>
              <a:gd name="connsiteX5" fmla="*/ 0 w 3733"/>
              <a:gd name="connsiteY5" fmla="*/ 1688 h 1688"/>
              <a:gd name="connsiteX6" fmla="*/ 1 w 3733"/>
              <a:gd name="connsiteY6" fmla="*/ 1688 h 1688"/>
              <a:gd name="connsiteX7" fmla="*/ 1 w 3733"/>
              <a:gd name="connsiteY7" fmla="*/ 1033 h 1688"/>
              <a:gd name="connsiteX8" fmla="*/ 1733 w 3733"/>
              <a:gd name="connsiteY8" fmla="*/ 580 h 1688"/>
              <a:gd name="connsiteX9" fmla="*/ 3170 w 3733"/>
              <a:gd name="connsiteY9" fmla="*/ 119 h 1688"/>
              <a:gd name="connsiteX0" fmla="*/ 3079 w 3733"/>
              <a:gd name="connsiteY0" fmla="*/ 0 h 1688"/>
              <a:gd name="connsiteX1" fmla="*/ 3733 w 3733"/>
              <a:gd name="connsiteY1" fmla="*/ 34 h 1688"/>
              <a:gd name="connsiteX2" fmla="*/ 3313 w 3733"/>
              <a:gd name="connsiteY2" fmla="*/ 498 h 1688"/>
              <a:gd name="connsiteX3" fmla="*/ 3259 w 3733"/>
              <a:gd name="connsiteY3" fmla="*/ 301 h 1688"/>
              <a:gd name="connsiteX4" fmla="*/ 1961 w 3733"/>
              <a:gd name="connsiteY4" fmla="*/ 933 h 1688"/>
              <a:gd name="connsiteX5" fmla="*/ 0 w 3733"/>
              <a:gd name="connsiteY5" fmla="*/ 1688 h 1688"/>
              <a:gd name="connsiteX6" fmla="*/ 1 w 3733"/>
              <a:gd name="connsiteY6" fmla="*/ 1688 h 1688"/>
              <a:gd name="connsiteX7" fmla="*/ 1 w 3733"/>
              <a:gd name="connsiteY7" fmla="*/ 1033 h 1688"/>
              <a:gd name="connsiteX8" fmla="*/ 1733 w 3733"/>
              <a:gd name="connsiteY8" fmla="*/ 580 h 1688"/>
              <a:gd name="connsiteX9" fmla="*/ 3170 w 3733"/>
              <a:gd name="connsiteY9" fmla="*/ 119 h 1688"/>
              <a:gd name="connsiteX10" fmla="*/ 3079 w 3733"/>
              <a:gd name="connsiteY10" fmla="*/ 0 h 1688"/>
              <a:gd name="connsiteX0" fmla="*/ 8248 w 10000"/>
              <a:gd name="connsiteY0" fmla="*/ 0 h 10000"/>
              <a:gd name="connsiteX1" fmla="*/ 10000 w 10000"/>
              <a:gd name="connsiteY1" fmla="*/ 201 h 10000"/>
              <a:gd name="connsiteX2" fmla="*/ 8875 w 10000"/>
              <a:gd name="connsiteY2" fmla="*/ 2950 h 10000"/>
              <a:gd name="connsiteX3" fmla="*/ 8730 w 10000"/>
              <a:gd name="connsiteY3" fmla="*/ 1783 h 10000"/>
              <a:gd name="connsiteX4" fmla="*/ 5253 w 10000"/>
              <a:gd name="connsiteY4" fmla="*/ 5527 h 10000"/>
              <a:gd name="connsiteX5" fmla="*/ 0 w 10000"/>
              <a:gd name="connsiteY5" fmla="*/ 10000 h 10000"/>
              <a:gd name="connsiteX6" fmla="*/ 10 w 10000"/>
              <a:gd name="connsiteY6" fmla="*/ 6940 h 10000"/>
              <a:gd name="connsiteX7" fmla="*/ 3 w 10000"/>
              <a:gd name="connsiteY7" fmla="*/ 6120 h 10000"/>
              <a:gd name="connsiteX8" fmla="*/ 4642 w 10000"/>
              <a:gd name="connsiteY8" fmla="*/ 3436 h 10000"/>
              <a:gd name="connsiteX9" fmla="*/ 8492 w 10000"/>
              <a:gd name="connsiteY9" fmla="*/ 705 h 10000"/>
              <a:gd name="connsiteX10" fmla="*/ 8248 w 10000"/>
              <a:gd name="connsiteY10" fmla="*/ 0 h 10000"/>
              <a:gd name="connsiteX0" fmla="*/ 8245 w 9997"/>
              <a:gd name="connsiteY0" fmla="*/ 0 h 6940"/>
              <a:gd name="connsiteX1" fmla="*/ 9997 w 9997"/>
              <a:gd name="connsiteY1" fmla="*/ 201 h 6940"/>
              <a:gd name="connsiteX2" fmla="*/ 8872 w 9997"/>
              <a:gd name="connsiteY2" fmla="*/ 2950 h 6940"/>
              <a:gd name="connsiteX3" fmla="*/ 8727 w 9997"/>
              <a:gd name="connsiteY3" fmla="*/ 1783 h 6940"/>
              <a:gd name="connsiteX4" fmla="*/ 5250 w 9997"/>
              <a:gd name="connsiteY4" fmla="*/ 5527 h 6940"/>
              <a:gd name="connsiteX5" fmla="*/ 7 w 9997"/>
              <a:gd name="connsiteY5" fmla="*/ 6940 h 6940"/>
              <a:gd name="connsiteX6" fmla="*/ 0 w 9997"/>
              <a:gd name="connsiteY6" fmla="*/ 6120 h 6940"/>
              <a:gd name="connsiteX7" fmla="*/ 4639 w 9997"/>
              <a:gd name="connsiteY7" fmla="*/ 3436 h 6940"/>
              <a:gd name="connsiteX8" fmla="*/ 8489 w 9997"/>
              <a:gd name="connsiteY8" fmla="*/ 705 h 6940"/>
              <a:gd name="connsiteX9" fmla="*/ 8245 w 9997"/>
              <a:gd name="connsiteY9" fmla="*/ 0 h 6940"/>
              <a:gd name="connsiteX0" fmla="*/ 8247 w 10000"/>
              <a:gd name="connsiteY0" fmla="*/ 0 h 10000"/>
              <a:gd name="connsiteX1" fmla="*/ 10000 w 10000"/>
              <a:gd name="connsiteY1" fmla="*/ 290 h 10000"/>
              <a:gd name="connsiteX2" fmla="*/ 8918 w 10000"/>
              <a:gd name="connsiteY2" fmla="*/ 7811 h 10000"/>
              <a:gd name="connsiteX3" fmla="*/ 8730 w 10000"/>
              <a:gd name="connsiteY3" fmla="*/ 2569 h 10000"/>
              <a:gd name="connsiteX4" fmla="*/ 5252 w 10000"/>
              <a:gd name="connsiteY4" fmla="*/ 7964 h 10000"/>
              <a:gd name="connsiteX5" fmla="*/ 7 w 10000"/>
              <a:gd name="connsiteY5" fmla="*/ 10000 h 10000"/>
              <a:gd name="connsiteX6" fmla="*/ 0 w 10000"/>
              <a:gd name="connsiteY6" fmla="*/ 8818 h 10000"/>
              <a:gd name="connsiteX7" fmla="*/ 4640 w 10000"/>
              <a:gd name="connsiteY7" fmla="*/ 4951 h 10000"/>
              <a:gd name="connsiteX8" fmla="*/ 8492 w 10000"/>
              <a:gd name="connsiteY8" fmla="*/ 1016 h 10000"/>
              <a:gd name="connsiteX9" fmla="*/ 8247 w 10000"/>
              <a:gd name="connsiteY9" fmla="*/ 0 h 10000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730 w 10000"/>
              <a:gd name="connsiteY3" fmla="*/ 4387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640 w 10000"/>
              <a:gd name="connsiteY7" fmla="*/ 6769 h 11818"/>
              <a:gd name="connsiteX8" fmla="*/ 8492 w 10000"/>
              <a:gd name="connsiteY8" fmla="*/ 2834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730 w 10000"/>
              <a:gd name="connsiteY3" fmla="*/ 4387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640 w 10000"/>
              <a:gd name="connsiteY7" fmla="*/ 6769 h 11818"/>
              <a:gd name="connsiteX8" fmla="*/ 8384 w 10000"/>
              <a:gd name="connsiteY8" fmla="*/ 3364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838 w 10000"/>
              <a:gd name="connsiteY3" fmla="*/ 6660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640 w 10000"/>
              <a:gd name="connsiteY7" fmla="*/ 6769 h 11818"/>
              <a:gd name="connsiteX8" fmla="*/ 8384 w 10000"/>
              <a:gd name="connsiteY8" fmla="*/ 3364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838 w 10000"/>
              <a:gd name="connsiteY3" fmla="*/ 6660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640 w 10000"/>
              <a:gd name="connsiteY7" fmla="*/ 6769 h 11818"/>
              <a:gd name="connsiteX8" fmla="*/ 8189 w 10000"/>
              <a:gd name="connsiteY8" fmla="*/ 2152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838 w 10000"/>
              <a:gd name="connsiteY3" fmla="*/ 6660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922 w 10000"/>
              <a:gd name="connsiteY7" fmla="*/ 6163 h 11818"/>
              <a:gd name="connsiteX8" fmla="*/ 8189 w 10000"/>
              <a:gd name="connsiteY8" fmla="*/ 2152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838 w 10000"/>
              <a:gd name="connsiteY3" fmla="*/ 6824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922 w 10000"/>
              <a:gd name="connsiteY7" fmla="*/ 6163 h 11818"/>
              <a:gd name="connsiteX8" fmla="*/ 8189 w 10000"/>
              <a:gd name="connsiteY8" fmla="*/ 2152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838 w 10000"/>
              <a:gd name="connsiteY3" fmla="*/ 6824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922 w 10000"/>
              <a:gd name="connsiteY7" fmla="*/ 6163 h 11818"/>
              <a:gd name="connsiteX8" fmla="*/ 8189 w 10000"/>
              <a:gd name="connsiteY8" fmla="*/ 2152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838 w 10000"/>
              <a:gd name="connsiteY3" fmla="*/ 6824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922 w 10000"/>
              <a:gd name="connsiteY7" fmla="*/ 6163 h 11818"/>
              <a:gd name="connsiteX8" fmla="*/ 8189 w 10000"/>
              <a:gd name="connsiteY8" fmla="*/ 2152 h 11818"/>
              <a:gd name="connsiteX9" fmla="*/ 7748 w 10000"/>
              <a:gd name="connsiteY9" fmla="*/ 0 h 11818"/>
              <a:gd name="connsiteX0" fmla="*/ 7748 w 10000"/>
              <a:gd name="connsiteY0" fmla="*/ 0 h 11818"/>
              <a:gd name="connsiteX1" fmla="*/ 10000 w 10000"/>
              <a:gd name="connsiteY1" fmla="*/ 2108 h 11818"/>
              <a:gd name="connsiteX2" fmla="*/ 8918 w 10000"/>
              <a:gd name="connsiteY2" fmla="*/ 9629 h 11818"/>
              <a:gd name="connsiteX3" fmla="*/ 8838 w 10000"/>
              <a:gd name="connsiteY3" fmla="*/ 6824 h 11818"/>
              <a:gd name="connsiteX4" fmla="*/ 5252 w 10000"/>
              <a:gd name="connsiteY4" fmla="*/ 9782 h 11818"/>
              <a:gd name="connsiteX5" fmla="*/ 7 w 10000"/>
              <a:gd name="connsiteY5" fmla="*/ 11818 h 11818"/>
              <a:gd name="connsiteX6" fmla="*/ 0 w 10000"/>
              <a:gd name="connsiteY6" fmla="*/ 10636 h 11818"/>
              <a:gd name="connsiteX7" fmla="*/ 4922 w 10000"/>
              <a:gd name="connsiteY7" fmla="*/ 6163 h 11818"/>
              <a:gd name="connsiteX8" fmla="*/ 8189 w 10000"/>
              <a:gd name="connsiteY8" fmla="*/ 2152 h 11818"/>
              <a:gd name="connsiteX9" fmla="*/ 7748 w 10000"/>
              <a:gd name="connsiteY9" fmla="*/ 0 h 11818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4922 w 10000"/>
              <a:gd name="connsiteY8" fmla="*/ 6163 h 11877"/>
              <a:gd name="connsiteX9" fmla="*/ 8189 w 10000"/>
              <a:gd name="connsiteY9" fmla="*/ 2152 h 11877"/>
              <a:gd name="connsiteX10" fmla="*/ 7748 w 10000"/>
              <a:gd name="connsiteY10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4922 w 10000"/>
              <a:gd name="connsiteY9" fmla="*/ 6163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486 w 10000"/>
              <a:gd name="connsiteY9" fmla="*/ 5793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124 w 10000"/>
              <a:gd name="connsiteY8" fmla="*/ 8032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10000"/>
              <a:gd name="connsiteY0" fmla="*/ 0 h 11877"/>
              <a:gd name="connsiteX1" fmla="*/ 10000 w 10000"/>
              <a:gd name="connsiteY1" fmla="*/ 2108 h 11877"/>
              <a:gd name="connsiteX2" fmla="*/ 8918 w 10000"/>
              <a:gd name="connsiteY2" fmla="*/ 9629 h 11877"/>
              <a:gd name="connsiteX3" fmla="*/ 8838 w 10000"/>
              <a:gd name="connsiteY3" fmla="*/ 6824 h 11877"/>
              <a:gd name="connsiteX4" fmla="*/ 5252 w 10000"/>
              <a:gd name="connsiteY4" fmla="*/ 9782 h 11877"/>
              <a:gd name="connsiteX5" fmla="*/ 2760 w 10000"/>
              <a:gd name="connsiteY5" fmla="*/ 10949 h 11877"/>
              <a:gd name="connsiteX6" fmla="*/ 7 w 10000"/>
              <a:gd name="connsiteY6" fmla="*/ 11818 h 11877"/>
              <a:gd name="connsiteX7" fmla="*/ 0 w 10000"/>
              <a:gd name="connsiteY7" fmla="*/ 10636 h 11877"/>
              <a:gd name="connsiteX8" fmla="*/ 3347 w 10000"/>
              <a:gd name="connsiteY8" fmla="*/ 7991 h 11877"/>
              <a:gd name="connsiteX9" fmla="*/ 5709 w 10000"/>
              <a:gd name="connsiteY9" fmla="*/ 5834 h 11877"/>
              <a:gd name="connsiteX10" fmla="*/ 8189 w 10000"/>
              <a:gd name="connsiteY10" fmla="*/ 2152 h 11877"/>
              <a:gd name="connsiteX11" fmla="*/ 7748 w 10000"/>
              <a:gd name="connsiteY11" fmla="*/ 0 h 11877"/>
              <a:gd name="connsiteX0" fmla="*/ 7748 w 9885"/>
              <a:gd name="connsiteY0" fmla="*/ 6146 h 18023"/>
              <a:gd name="connsiteX1" fmla="*/ 9885 w 9885"/>
              <a:gd name="connsiteY1" fmla="*/ 0 h 18023"/>
              <a:gd name="connsiteX2" fmla="*/ 8918 w 9885"/>
              <a:gd name="connsiteY2" fmla="*/ 15775 h 18023"/>
              <a:gd name="connsiteX3" fmla="*/ 8838 w 9885"/>
              <a:gd name="connsiteY3" fmla="*/ 12970 h 18023"/>
              <a:gd name="connsiteX4" fmla="*/ 5252 w 9885"/>
              <a:gd name="connsiteY4" fmla="*/ 15928 h 18023"/>
              <a:gd name="connsiteX5" fmla="*/ 2760 w 9885"/>
              <a:gd name="connsiteY5" fmla="*/ 17095 h 18023"/>
              <a:gd name="connsiteX6" fmla="*/ 7 w 9885"/>
              <a:gd name="connsiteY6" fmla="*/ 17964 h 18023"/>
              <a:gd name="connsiteX7" fmla="*/ 0 w 9885"/>
              <a:gd name="connsiteY7" fmla="*/ 16782 h 18023"/>
              <a:gd name="connsiteX8" fmla="*/ 3347 w 9885"/>
              <a:gd name="connsiteY8" fmla="*/ 14137 h 18023"/>
              <a:gd name="connsiteX9" fmla="*/ 5709 w 9885"/>
              <a:gd name="connsiteY9" fmla="*/ 11980 h 18023"/>
              <a:gd name="connsiteX10" fmla="*/ 8189 w 9885"/>
              <a:gd name="connsiteY10" fmla="*/ 8298 h 18023"/>
              <a:gd name="connsiteX11" fmla="*/ 7748 w 9885"/>
              <a:gd name="connsiteY11" fmla="*/ 6146 h 18023"/>
              <a:gd name="connsiteX0" fmla="*/ 7412 w 10000"/>
              <a:gd name="connsiteY0" fmla="*/ 2024 h 10000"/>
              <a:gd name="connsiteX1" fmla="*/ 10000 w 10000"/>
              <a:gd name="connsiteY1" fmla="*/ 0 h 10000"/>
              <a:gd name="connsiteX2" fmla="*/ 9022 w 10000"/>
              <a:gd name="connsiteY2" fmla="*/ 8753 h 10000"/>
              <a:gd name="connsiteX3" fmla="*/ 8941 w 10000"/>
              <a:gd name="connsiteY3" fmla="*/ 7196 h 10000"/>
              <a:gd name="connsiteX4" fmla="*/ 5313 w 10000"/>
              <a:gd name="connsiteY4" fmla="*/ 8838 h 10000"/>
              <a:gd name="connsiteX5" fmla="*/ 2792 w 10000"/>
              <a:gd name="connsiteY5" fmla="*/ 9485 h 10000"/>
              <a:gd name="connsiteX6" fmla="*/ 7 w 10000"/>
              <a:gd name="connsiteY6" fmla="*/ 9967 h 10000"/>
              <a:gd name="connsiteX7" fmla="*/ 0 w 10000"/>
              <a:gd name="connsiteY7" fmla="*/ 9311 h 10000"/>
              <a:gd name="connsiteX8" fmla="*/ 3386 w 10000"/>
              <a:gd name="connsiteY8" fmla="*/ 7844 h 10000"/>
              <a:gd name="connsiteX9" fmla="*/ 5775 w 10000"/>
              <a:gd name="connsiteY9" fmla="*/ 6647 h 10000"/>
              <a:gd name="connsiteX10" fmla="*/ 8284 w 10000"/>
              <a:gd name="connsiteY10" fmla="*/ 4604 h 10000"/>
              <a:gd name="connsiteX11" fmla="*/ 7412 w 10000"/>
              <a:gd name="connsiteY11" fmla="*/ 2024 h 10000"/>
              <a:gd name="connsiteX0" fmla="*/ 7412 w 10793"/>
              <a:gd name="connsiteY0" fmla="*/ 2024 h 10000"/>
              <a:gd name="connsiteX1" fmla="*/ 10000 w 10793"/>
              <a:gd name="connsiteY1" fmla="*/ 0 h 10000"/>
              <a:gd name="connsiteX2" fmla="*/ 10468 w 10793"/>
              <a:gd name="connsiteY2" fmla="*/ 5040 h 10000"/>
              <a:gd name="connsiteX3" fmla="*/ 8941 w 10793"/>
              <a:gd name="connsiteY3" fmla="*/ 7196 h 10000"/>
              <a:gd name="connsiteX4" fmla="*/ 5313 w 10793"/>
              <a:gd name="connsiteY4" fmla="*/ 8838 h 10000"/>
              <a:gd name="connsiteX5" fmla="*/ 2792 w 10793"/>
              <a:gd name="connsiteY5" fmla="*/ 9485 h 10000"/>
              <a:gd name="connsiteX6" fmla="*/ 7 w 10793"/>
              <a:gd name="connsiteY6" fmla="*/ 9967 h 10000"/>
              <a:gd name="connsiteX7" fmla="*/ 0 w 10793"/>
              <a:gd name="connsiteY7" fmla="*/ 9311 h 10000"/>
              <a:gd name="connsiteX8" fmla="*/ 3386 w 10793"/>
              <a:gd name="connsiteY8" fmla="*/ 7844 h 10000"/>
              <a:gd name="connsiteX9" fmla="*/ 5775 w 10793"/>
              <a:gd name="connsiteY9" fmla="*/ 6647 h 10000"/>
              <a:gd name="connsiteX10" fmla="*/ 8284 w 10793"/>
              <a:gd name="connsiteY10" fmla="*/ 4604 h 10000"/>
              <a:gd name="connsiteX11" fmla="*/ 7412 w 10793"/>
              <a:gd name="connsiteY11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8941 w 10468"/>
              <a:gd name="connsiteY3" fmla="*/ 7196 h 10000"/>
              <a:gd name="connsiteX4" fmla="*/ 5313 w 10468"/>
              <a:gd name="connsiteY4" fmla="*/ 8838 h 10000"/>
              <a:gd name="connsiteX5" fmla="*/ 2792 w 10468"/>
              <a:gd name="connsiteY5" fmla="*/ 9485 h 10000"/>
              <a:gd name="connsiteX6" fmla="*/ 7 w 10468"/>
              <a:gd name="connsiteY6" fmla="*/ 9967 h 10000"/>
              <a:gd name="connsiteX7" fmla="*/ 0 w 10468"/>
              <a:gd name="connsiteY7" fmla="*/ 9311 h 10000"/>
              <a:gd name="connsiteX8" fmla="*/ 3386 w 10468"/>
              <a:gd name="connsiteY8" fmla="*/ 7844 h 10000"/>
              <a:gd name="connsiteX9" fmla="*/ 5775 w 10468"/>
              <a:gd name="connsiteY9" fmla="*/ 6647 h 10000"/>
              <a:gd name="connsiteX10" fmla="*/ 8284 w 10468"/>
              <a:gd name="connsiteY10" fmla="*/ 4604 h 10000"/>
              <a:gd name="connsiteX11" fmla="*/ 7412 w 10468"/>
              <a:gd name="connsiteY11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8941 w 10468"/>
              <a:gd name="connsiteY3" fmla="*/ 7196 h 10000"/>
              <a:gd name="connsiteX4" fmla="*/ 5313 w 10468"/>
              <a:gd name="connsiteY4" fmla="*/ 8838 h 10000"/>
              <a:gd name="connsiteX5" fmla="*/ 2792 w 10468"/>
              <a:gd name="connsiteY5" fmla="*/ 9485 h 10000"/>
              <a:gd name="connsiteX6" fmla="*/ 7 w 10468"/>
              <a:gd name="connsiteY6" fmla="*/ 9967 h 10000"/>
              <a:gd name="connsiteX7" fmla="*/ 0 w 10468"/>
              <a:gd name="connsiteY7" fmla="*/ 9311 h 10000"/>
              <a:gd name="connsiteX8" fmla="*/ 3386 w 10468"/>
              <a:gd name="connsiteY8" fmla="*/ 7844 h 10000"/>
              <a:gd name="connsiteX9" fmla="*/ 5775 w 10468"/>
              <a:gd name="connsiteY9" fmla="*/ 6647 h 10000"/>
              <a:gd name="connsiteX10" fmla="*/ 8232 w 10468"/>
              <a:gd name="connsiteY10" fmla="*/ 2871 h 10000"/>
              <a:gd name="connsiteX11" fmla="*/ 7412 w 10468"/>
              <a:gd name="connsiteY11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5313 w 10468"/>
              <a:gd name="connsiteY4" fmla="*/ 8838 h 10000"/>
              <a:gd name="connsiteX5" fmla="*/ 2792 w 10468"/>
              <a:gd name="connsiteY5" fmla="*/ 9485 h 10000"/>
              <a:gd name="connsiteX6" fmla="*/ 7 w 10468"/>
              <a:gd name="connsiteY6" fmla="*/ 9967 h 10000"/>
              <a:gd name="connsiteX7" fmla="*/ 0 w 10468"/>
              <a:gd name="connsiteY7" fmla="*/ 9311 h 10000"/>
              <a:gd name="connsiteX8" fmla="*/ 3386 w 10468"/>
              <a:gd name="connsiteY8" fmla="*/ 7844 h 10000"/>
              <a:gd name="connsiteX9" fmla="*/ 5775 w 10468"/>
              <a:gd name="connsiteY9" fmla="*/ 6647 h 10000"/>
              <a:gd name="connsiteX10" fmla="*/ 8232 w 10468"/>
              <a:gd name="connsiteY10" fmla="*/ 2871 h 10000"/>
              <a:gd name="connsiteX11" fmla="*/ 7412 w 10468"/>
              <a:gd name="connsiteY11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5313 w 10468"/>
              <a:gd name="connsiteY4" fmla="*/ 8838 h 10000"/>
              <a:gd name="connsiteX5" fmla="*/ 2792 w 10468"/>
              <a:gd name="connsiteY5" fmla="*/ 9485 h 10000"/>
              <a:gd name="connsiteX6" fmla="*/ 7 w 10468"/>
              <a:gd name="connsiteY6" fmla="*/ 9967 h 10000"/>
              <a:gd name="connsiteX7" fmla="*/ 0 w 10468"/>
              <a:gd name="connsiteY7" fmla="*/ 9311 h 10000"/>
              <a:gd name="connsiteX8" fmla="*/ 3386 w 10468"/>
              <a:gd name="connsiteY8" fmla="*/ 7844 h 10000"/>
              <a:gd name="connsiteX9" fmla="*/ 5775 w 10468"/>
              <a:gd name="connsiteY9" fmla="*/ 6647 h 10000"/>
              <a:gd name="connsiteX10" fmla="*/ 8232 w 10468"/>
              <a:gd name="connsiteY10" fmla="*/ 2871 h 10000"/>
              <a:gd name="connsiteX11" fmla="*/ 7412 w 10468"/>
              <a:gd name="connsiteY11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5313 w 10468"/>
              <a:gd name="connsiteY4" fmla="*/ 8838 h 10000"/>
              <a:gd name="connsiteX5" fmla="*/ 2792 w 10468"/>
              <a:gd name="connsiteY5" fmla="*/ 9485 h 10000"/>
              <a:gd name="connsiteX6" fmla="*/ 7 w 10468"/>
              <a:gd name="connsiteY6" fmla="*/ 9967 h 10000"/>
              <a:gd name="connsiteX7" fmla="*/ 0 w 10468"/>
              <a:gd name="connsiteY7" fmla="*/ 9311 h 10000"/>
              <a:gd name="connsiteX8" fmla="*/ 3386 w 10468"/>
              <a:gd name="connsiteY8" fmla="*/ 7844 h 10000"/>
              <a:gd name="connsiteX9" fmla="*/ 5775 w 10468"/>
              <a:gd name="connsiteY9" fmla="*/ 6647 h 10000"/>
              <a:gd name="connsiteX10" fmla="*/ 7411 w 10468"/>
              <a:gd name="connsiteY10" fmla="*/ 4642 h 10000"/>
              <a:gd name="connsiteX11" fmla="*/ 8232 w 10468"/>
              <a:gd name="connsiteY11" fmla="*/ 2871 h 10000"/>
              <a:gd name="connsiteX12" fmla="*/ 7412 w 10468"/>
              <a:gd name="connsiteY12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613 w 10468"/>
              <a:gd name="connsiteY3" fmla="*/ 3854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3386 w 10468"/>
              <a:gd name="connsiteY9" fmla="*/ 7844 h 10000"/>
              <a:gd name="connsiteX10" fmla="*/ 5775 w 10468"/>
              <a:gd name="connsiteY10" fmla="*/ 6647 h 10000"/>
              <a:gd name="connsiteX11" fmla="*/ 7411 w 10468"/>
              <a:gd name="connsiteY11" fmla="*/ 4642 h 10000"/>
              <a:gd name="connsiteX12" fmla="*/ 8232 w 10468"/>
              <a:gd name="connsiteY12" fmla="*/ 2871 h 10000"/>
              <a:gd name="connsiteX13" fmla="*/ 7412 w 10468"/>
              <a:gd name="connsiteY13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935 w 10468"/>
              <a:gd name="connsiteY9" fmla="*/ 8652 h 10000"/>
              <a:gd name="connsiteX10" fmla="*/ 3386 w 10468"/>
              <a:gd name="connsiteY10" fmla="*/ 7844 h 10000"/>
              <a:gd name="connsiteX11" fmla="*/ 5775 w 10468"/>
              <a:gd name="connsiteY11" fmla="*/ 6647 h 10000"/>
              <a:gd name="connsiteX12" fmla="*/ 7411 w 10468"/>
              <a:gd name="connsiteY12" fmla="*/ 4642 h 10000"/>
              <a:gd name="connsiteX13" fmla="*/ 8232 w 10468"/>
              <a:gd name="connsiteY13" fmla="*/ 2871 h 10000"/>
              <a:gd name="connsiteX14" fmla="*/ 7412 w 10468"/>
              <a:gd name="connsiteY14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935 w 10468"/>
              <a:gd name="connsiteY9" fmla="*/ 8652 h 10000"/>
              <a:gd name="connsiteX10" fmla="*/ 3606 w 10468"/>
              <a:gd name="connsiteY10" fmla="*/ 7943 h 10000"/>
              <a:gd name="connsiteX11" fmla="*/ 5775 w 10468"/>
              <a:gd name="connsiteY11" fmla="*/ 6647 h 10000"/>
              <a:gd name="connsiteX12" fmla="*/ 7411 w 10468"/>
              <a:gd name="connsiteY12" fmla="*/ 4642 h 10000"/>
              <a:gd name="connsiteX13" fmla="*/ 8232 w 10468"/>
              <a:gd name="connsiteY13" fmla="*/ 2871 h 10000"/>
              <a:gd name="connsiteX14" fmla="*/ 7412 w 10468"/>
              <a:gd name="connsiteY14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006 w 10468"/>
              <a:gd name="connsiteY9" fmla="*/ 8924 h 10000"/>
              <a:gd name="connsiteX10" fmla="*/ 1935 w 10468"/>
              <a:gd name="connsiteY10" fmla="*/ 8652 h 10000"/>
              <a:gd name="connsiteX11" fmla="*/ 3606 w 10468"/>
              <a:gd name="connsiteY11" fmla="*/ 7943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006 w 10468"/>
              <a:gd name="connsiteY9" fmla="*/ 8924 h 10000"/>
              <a:gd name="connsiteX10" fmla="*/ 1935 w 10468"/>
              <a:gd name="connsiteY10" fmla="*/ 8652 h 10000"/>
              <a:gd name="connsiteX11" fmla="*/ 3606 w 10468"/>
              <a:gd name="connsiteY11" fmla="*/ 7943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006 w 10468"/>
              <a:gd name="connsiteY9" fmla="*/ 8924 h 10000"/>
              <a:gd name="connsiteX10" fmla="*/ 1935 w 10468"/>
              <a:gd name="connsiteY10" fmla="*/ 8652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006 w 10468"/>
              <a:gd name="connsiteY9" fmla="*/ 8924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226 w 10468"/>
              <a:gd name="connsiteY9" fmla="*/ 8874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792 w 10468"/>
              <a:gd name="connsiteY6" fmla="*/ 9485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303 w 10468"/>
              <a:gd name="connsiteY9" fmla="*/ 8948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303 w 10468"/>
              <a:gd name="connsiteY9" fmla="*/ 8948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303 w 10468"/>
              <a:gd name="connsiteY9" fmla="*/ 8948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303 w 10468"/>
              <a:gd name="connsiteY9" fmla="*/ 8948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303 w 10468"/>
              <a:gd name="connsiteY9" fmla="*/ 8948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1303 w 10468"/>
              <a:gd name="connsiteY9" fmla="*/ 8948 h 10000"/>
              <a:gd name="connsiteX10" fmla="*/ 2103 w 10468"/>
              <a:gd name="connsiteY10" fmla="*/ 8751 h 10000"/>
              <a:gd name="connsiteX11" fmla="*/ 3696 w 10468"/>
              <a:gd name="connsiteY11" fmla="*/ 7968 h 10000"/>
              <a:gd name="connsiteX12" fmla="*/ 5775 w 10468"/>
              <a:gd name="connsiteY12" fmla="*/ 6647 h 10000"/>
              <a:gd name="connsiteX13" fmla="*/ 7411 w 10468"/>
              <a:gd name="connsiteY13" fmla="*/ 4642 h 10000"/>
              <a:gd name="connsiteX14" fmla="*/ 8232 w 10468"/>
              <a:gd name="connsiteY14" fmla="*/ 2871 h 10000"/>
              <a:gd name="connsiteX15" fmla="*/ 7412 w 10468"/>
              <a:gd name="connsiteY15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657 w 10468"/>
              <a:gd name="connsiteY9" fmla="*/ 9123 h 10000"/>
              <a:gd name="connsiteX10" fmla="*/ 1303 w 10468"/>
              <a:gd name="connsiteY10" fmla="*/ 8948 h 10000"/>
              <a:gd name="connsiteX11" fmla="*/ 2103 w 10468"/>
              <a:gd name="connsiteY11" fmla="*/ 8751 h 10000"/>
              <a:gd name="connsiteX12" fmla="*/ 3696 w 10468"/>
              <a:gd name="connsiteY12" fmla="*/ 7968 h 10000"/>
              <a:gd name="connsiteX13" fmla="*/ 5775 w 10468"/>
              <a:gd name="connsiteY13" fmla="*/ 6647 h 10000"/>
              <a:gd name="connsiteX14" fmla="*/ 7411 w 10468"/>
              <a:gd name="connsiteY14" fmla="*/ 4642 h 10000"/>
              <a:gd name="connsiteX15" fmla="*/ 8232 w 10468"/>
              <a:gd name="connsiteY15" fmla="*/ 2871 h 10000"/>
              <a:gd name="connsiteX16" fmla="*/ 7412 w 10468"/>
              <a:gd name="connsiteY16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657 w 10468"/>
              <a:gd name="connsiteY9" fmla="*/ 9123 h 10000"/>
              <a:gd name="connsiteX10" fmla="*/ 1303 w 10468"/>
              <a:gd name="connsiteY10" fmla="*/ 8948 h 10000"/>
              <a:gd name="connsiteX11" fmla="*/ 2103 w 10468"/>
              <a:gd name="connsiteY11" fmla="*/ 8751 h 10000"/>
              <a:gd name="connsiteX12" fmla="*/ 3007 w 10468"/>
              <a:gd name="connsiteY12" fmla="*/ 8380 h 10000"/>
              <a:gd name="connsiteX13" fmla="*/ 3696 w 10468"/>
              <a:gd name="connsiteY13" fmla="*/ 7968 h 10000"/>
              <a:gd name="connsiteX14" fmla="*/ 5775 w 10468"/>
              <a:gd name="connsiteY14" fmla="*/ 6647 h 10000"/>
              <a:gd name="connsiteX15" fmla="*/ 7411 w 10468"/>
              <a:gd name="connsiteY15" fmla="*/ 4642 h 10000"/>
              <a:gd name="connsiteX16" fmla="*/ 8232 w 10468"/>
              <a:gd name="connsiteY16" fmla="*/ 2871 h 10000"/>
              <a:gd name="connsiteX17" fmla="*/ 7412 w 10468"/>
              <a:gd name="connsiteY17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657 w 10468"/>
              <a:gd name="connsiteY9" fmla="*/ 9123 h 10000"/>
              <a:gd name="connsiteX10" fmla="*/ 1303 w 10468"/>
              <a:gd name="connsiteY10" fmla="*/ 8948 h 10000"/>
              <a:gd name="connsiteX11" fmla="*/ 2103 w 10468"/>
              <a:gd name="connsiteY11" fmla="*/ 8751 h 10000"/>
              <a:gd name="connsiteX12" fmla="*/ 3007 w 10468"/>
              <a:gd name="connsiteY12" fmla="*/ 8380 h 10000"/>
              <a:gd name="connsiteX13" fmla="*/ 3954 w 10468"/>
              <a:gd name="connsiteY13" fmla="*/ 7943 h 10000"/>
              <a:gd name="connsiteX14" fmla="*/ 5775 w 10468"/>
              <a:gd name="connsiteY14" fmla="*/ 6647 h 10000"/>
              <a:gd name="connsiteX15" fmla="*/ 7411 w 10468"/>
              <a:gd name="connsiteY15" fmla="*/ 4642 h 10000"/>
              <a:gd name="connsiteX16" fmla="*/ 8232 w 10468"/>
              <a:gd name="connsiteY16" fmla="*/ 2871 h 10000"/>
              <a:gd name="connsiteX17" fmla="*/ 7412 w 10468"/>
              <a:gd name="connsiteY17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657 w 10468"/>
              <a:gd name="connsiteY9" fmla="*/ 9123 h 10000"/>
              <a:gd name="connsiteX10" fmla="*/ 1303 w 10468"/>
              <a:gd name="connsiteY10" fmla="*/ 8948 h 10000"/>
              <a:gd name="connsiteX11" fmla="*/ 2103 w 10468"/>
              <a:gd name="connsiteY11" fmla="*/ 8751 h 10000"/>
              <a:gd name="connsiteX12" fmla="*/ 2968 w 10468"/>
              <a:gd name="connsiteY12" fmla="*/ 8454 h 10000"/>
              <a:gd name="connsiteX13" fmla="*/ 3954 w 10468"/>
              <a:gd name="connsiteY13" fmla="*/ 7943 h 10000"/>
              <a:gd name="connsiteX14" fmla="*/ 5775 w 10468"/>
              <a:gd name="connsiteY14" fmla="*/ 6647 h 10000"/>
              <a:gd name="connsiteX15" fmla="*/ 7411 w 10468"/>
              <a:gd name="connsiteY15" fmla="*/ 4642 h 10000"/>
              <a:gd name="connsiteX16" fmla="*/ 8232 w 10468"/>
              <a:gd name="connsiteY16" fmla="*/ 2871 h 10000"/>
              <a:gd name="connsiteX17" fmla="*/ 7412 w 10468"/>
              <a:gd name="connsiteY17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657 w 10468"/>
              <a:gd name="connsiteY9" fmla="*/ 9123 h 10000"/>
              <a:gd name="connsiteX10" fmla="*/ 1303 w 10468"/>
              <a:gd name="connsiteY10" fmla="*/ 8948 h 10000"/>
              <a:gd name="connsiteX11" fmla="*/ 2103 w 10468"/>
              <a:gd name="connsiteY11" fmla="*/ 8751 h 10000"/>
              <a:gd name="connsiteX12" fmla="*/ 2968 w 10468"/>
              <a:gd name="connsiteY12" fmla="*/ 8454 h 10000"/>
              <a:gd name="connsiteX13" fmla="*/ 4006 w 10468"/>
              <a:gd name="connsiteY13" fmla="*/ 7918 h 10000"/>
              <a:gd name="connsiteX14" fmla="*/ 5775 w 10468"/>
              <a:gd name="connsiteY14" fmla="*/ 6647 h 10000"/>
              <a:gd name="connsiteX15" fmla="*/ 7411 w 10468"/>
              <a:gd name="connsiteY15" fmla="*/ 4642 h 10000"/>
              <a:gd name="connsiteX16" fmla="*/ 8232 w 10468"/>
              <a:gd name="connsiteY16" fmla="*/ 2871 h 10000"/>
              <a:gd name="connsiteX17" fmla="*/ 7412 w 10468"/>
              <a:gd name="connsiteY17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2857 w 10468"/>
              <a:gd name="connsiteY6" fmla="*/ 9559 h 10000"/>
              <a:gd name="connsiteX7" fmla="*/ 7 w 10468"/>
              <a:gd name="connsiteY7" fmla="*/ 9967 h 10000"/>
              <a:gd name="connsiteX8" fmla="*/ 0 w 10468"/>
              <a:gd name="connsiteY8" fmla="*/ 9311 h 10000"/>
              <a:gd name="connsiteX9" fmla="*/ 657 w 10468"/>
              <a:gd name="connsiteY9" fmla="*/ 9123 h 10000"/>
              <a:gd name="connsiteX10" fmla="*/ 1303 w 10468"/>
              <a:gd name="connsiteY10" fmla="*/ 8948 h 10000"/>
              <a:gd name="connsiteX11" fmla="*/ 2103 w 10468"/>
              <a:gd name="connsiteY11" fmla="*/ 8751 h 10000"/>
              <a:gd name="connsiteX12" fmla="*/ 2968 w 10468"/>
              <a:gd name="connsiteY12" fmla="*/ 8454 h 10000"/>
              <a:gd name="connsiteX13" fmla="*/ 4006 w 10468"/>
              <a:gd name="connsiteY13" fmla="*/ 7918 h 10000"/>
              <a:gd name="connsiteX14" fmla="*/ 4918 w 10468"/>
              <a:gd name="connsiteY14" fmla="*/ 7340 h 10000"/>
              <a:gd name="connsiteX15" fmla="*/ 5775 w 10468"/>
              <a:gd name="connsiteY15" fmla="*/ 6647 h 10000"/>
              <a:gd name="connsiteX16" fmla="*/ 7411 w 10468"/>
              <a:gd name="connsiteY16" fmla="*/ 4642 h 10000"/>
              <a:gd name="connsiteX17" fmla="*/ 8232 w 10468"/>
              <a:gd name="connsiteY17" fmla="*/ 2871 h 10000"/>
              <a:gd name="connsiteX18" fmla="*/ 7412 w 10468"/>
              <a:gd name="connsiteY18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4195 w 10468"/>
              <a:gd name="connsiteY6" fmla="*/ 9222 h 10000"/>
              <a:gd name="connsiteX7" fmla="*/ 2857 w 10468"/>
              <a:gd name="connsiteY7" fmla="*/ 9559 h 10000"/>
              <a:gd name="connsiteX8" fmla="*/ 7 w 10468"/>
              <a:gd name="connsiteY8" fmla="*/ 9967 h 10000"/>
              <a:gd name="connsiteX9" fmla="*/ 0 w 10468"/>
              <a:gd name="connsiteY9" fmla="*/ 9311 h 10000"/>
              <a:gd name="connsiteX10" fmla="*/ 657 w 10468"/>
              <a:gd name="connsiteY10" fmla="*/ 9123 h 10000"/>
              <a:gd name="connsiteX11" fmla="*/ 1303 w 10468"/>
              <a:gd name="connsiteY11" fmla="*/ 8948 h 10000"/>
              <a:gd name="connsiteX12" fmla="*/ 2103 w 10468"/>
              <a:gd name="connsiteY12" fmla="*/ 8751 h 10000"/>
              <a:gd name="connsiteX13" fmla="*/ 2968 w 10468"/>
              <a:gd name="connsiteY13" fmla="*/ 8454 h 10000"/>
              <a:gd name="connsiteX14" fmla="*/ 4006 w 10468"/>
              <a:gd name="connsiteY14" fmla="*/ 7918 h 10000"/>
              <a:gd name="connsiteX15" fmla="*/ 4918 w 10468"/>
              <a:gd name="connsiteY15" fmla="*/ 7340 h 10000"/>
              <a:gd name="connsiteX16" fmla="*/ 5775 w 10468"/>
              <a:gd name="connsiteY16" fmla="*/ 6647 h 10000"/>
              <a:gd name="connsiteX17" fmla="*/ 7411 w 10468"/>
              <a:gd name="connsiteY17" fmla="*/ 4642 h 10000"/>
              <a:gd name="connsiteX18" fmla="*/ 8232 w 10468"/>
              <a:gd name="connsiteY18" fmla="*/ 2871 h 10000"/>
              <a:gd name="connsiteX19" fmla="*/ 7412 w 10468"/>
              <a:gd name="connsiteY19" fmla="*/ 2024 h 10000"/>
              <a:gd name="connsiteX0" fmla="*/ 7412 w 10468"/>
              <a:gd name="connsiteY0" fmla="*/ 2024 h 10000"/>
              <a:gd name="connsiteX1" fmla="*/ 10000 w 10468"/>
              <a:gd name="connsiteY1" fmla="*/ 0 h 10000"/>
              <a:gd name="connsiteX2" fmla="*/ 10468 w 10468"/>
              <a:gd name="connsiteY2" fmla="*/ 5040 h 10000"/>
              <a:gd name="connsiteX3" fmla="*/ 9561 w 10468"/>
              <a:gd name="connsiteY3" fmla="*/ 4027 h 10000"/>
              <a:gd name="connsiteX4" fmla="*/ 8354 w 10468"/>
              <a:gd name="connsiteY4" fmla="*/ 6251 h 10000"/>
              <a:gd name="connsiteX5" fmla="*/ 5313 w 10468"/>
              <a:gd name="connsiteY5" fmla="*/ 8838 h 10000"/>
              <a:gd name="connsiteX6" fmla="*/ 4195 w 10468"/>
              <a:gd name="connsiteY6" fmla="*/ 9222 h 10000"/>
              <a:gd name="connsiteX7" fmla="*/ 2857 w 10468"/>
              <a:gd name="connsiteY7" fmla="*/ 9559 h 10000"/>
              <a:gd name="connsiteX8" fmla="*/ 7 w 10468"/>
              <a:gd name="connsiteY8" fmla="*/ 9967 h 10000"/>
              <a:gd name="connsiteX9" fmla="*/ 0 w 10468"/>
              <a:gd name="connsiteY9" fmla="*/ 9311 h 10000"/>
              <a:gd name="connsiteX10" fmla="*/ 657 w 10468"/>
              <a:gd name="connsiteY10" fmla="*/ 9123 h 10000"/>
              <a:gd name="connsiteX11" fmla="*/ 1303 w 10468"/>
              <a:gd name="connsiteY11" fmla="*/ 8948 h 10000"/>
              <a:gd name="connsiteX12" fmla="*/ 2103 w 10468"/>
              <a:gd name="connsiteY12" fmla="*/ 8751 h 10000"/>
              <a:gd name="connsiteX13" fmla="*/ 2968 w 10468"/>
              <a:gd name="connsiteY13" fmla="*/ 8454 h 10000"/>
              <a:gd name="connsiteX14" fmla="*/ 4006 w 10468"/>
              <a:gd name="connsiteY14" fmla="*/ 7918 h 10000"/>
              <a:gd name="connsiteX15" fmla="*/ 4918 w 10468"/>
              <a:gd name="connsiteY15" fmla="*/ 7340 h 10000"/>
              <a:gd name="connsiteX16" fmla="*/ 5775 w 10468"/>
              <a:gd name="connsiteY16" fmla="*/ 6647 h 10000"/>
              <a:gd name="connsiteX17" fmla="*/ 7411 w 10468"/>
              <a:gd name="connsiteY17" fmla="*/ 4642 h 10000"/>
              <a:gd name="connsiteX18" fmla="*/ 8232 w 10468"/>
              <a:gd name="connsiteY18" fmla="*/ 2871 h 10000"/>
              <a:gd name="connsiteX19" fmla="*/ 7412 w 10468"/>
              <a:gd name="connsiteY19" fmla="*/ 2024 h 10000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5313 w 10468"/>
              <a:gd name="connsiteY5" fmla="*/ 8838 h 10055"/>
              <a:gd name="connsiteX6" fmla="*/ 4195 w 10468"/>
              <a:gd name="connsiteY6" fmla="*/ 9222 h 10055"/>
              <a:gd name="connsiteX7" fmla="*/ 2857 w 10468"/>
              <a:gd name="connsiteY7" fmla="*/ 9559 h 10055"/>
              <a:gd name="connsiteX8" fmla="*/ 1496 w 10468"/>
              <a:gd name="connsiteY8" fmla="*/ 9865 h 10055"/>
              <a:gd name="connsiteX9" fmla="*/ 7 w 10468"/>
              <a:gd name="connsiteY9" fmla="*/ 9967 h 10055"/>
              <a:gd name="connsiteX10" fmla="*/ 0 w 10468"/>
              <a:gd name="connsiteY10" fmla="*/ 9311 h 10055"/>
              <a:gd name="connsiteX11" fmla="*/ 657 w 10468"/>
              <a:gd name="connsiteY11" fmla="*/ 9123 h 10055"/>
              <a:gd name="connsiteX12" fmla="*/ 1303 w 10468"/>
              <a:gd name="connsiteY12" fmla="*/ 8948 h 10055"/>
              <a:gd name="connsiteX13" fmla="*/ 2103 w 10468"/>
              <a:gd name="connsiteY13" fmla="*/ 8751 h 10055"/>
              <a:gd name="connsiteX14" fmla="*/ 2968 w 10468"/>
              <a:gd name="connsiteY14" fmla="*/ 8454 h 10055"/>
              <a:gd name="connsiteX15" fmla="*/ 4006 w 10468"/>
              <a:gd name="connsiteY15" fmla="*/ 7918 h 10055"/>
              <a:gd name="connsiteX16" fmla="*/ 4918 w 10468"/>
              <a:gd name="connsiteY16" fmla="*/ 7340 h 10055"/>
              <a:gd name="connsiteX17" fmla="*/ 5775 w 10468"/>
              <a:gd name="connsiteY17" fmla="*/ 6647 h 10055"/>
              <a:gd name="connsiteX18" fmla="*/ 7411 w 10468"/>
              <a:gd name="connsiteY18" fmla="*/ 4642 h 10055"/>
              <a:gd name="connsiteX19" fmla="*/ 8232 w 10468"/>
              <a:gd name="connsiteY19" fmla="*/ 2871 h 10055"/>
              <a:gd name="connsiteX20" fmla="*/ 7412 w 10468"/>
              <a:gd name="connsiteY20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5313 w 10468"/>
              <a:gd name="connsiteY5" fmla="*/ 8838 h 10055"/>
              <a:gd name="connsiteX6" fmla="*/ 4195 w 10468"/>
              <a:gd name="connsiteY6" fmla="*/ 9222 h 10055"/>
              <a:gd name="connsiteX7" fmla="*/ 2857 w 10468"/>
              <a:gd name="connsiteY7" fmla="*/ 9559 h 10055"/>
              <a:gd name="connsiteX8" fmla="*/ 1496 w 10468"/>
              <a:gd name="connsiteY8" fmla="*/ 9865 h 10055"/>
              <a:gd name="connsiteX9" fmla="*/ 7 w 10468"/>
              <a:gd name="connsiteY9" fmla="*/ 9967 h 10055"/>
              <a:gd name="connsiteX10" fmla="*/ 0 w 10468"/>
              <a:gd name="connsiteY10" fmla="*/ 9311 h 10055"/>
              <a:gd name="connsiteX11" fmla="*/ 657 w 10468"/>
              <a:gd name="connsiteY11" fmla="*/ 9123 h 10055"/>
              <a:gd name="connsiteX12" fmla="*/ 1303 w 10468"/>
              <a:gd name="connsiteY12" fmla="*/ 8948 h 10055"/>
              <a:gd name="connsiteX13" fmla="*/ 2103 w 10468"/>
              <a:gd name="connsiteY13" fmla="*/ 8751 h 10055"/>
              <a:gd name="connsiteX14" fmla="*/ 2968 w 10468"/>
              <a:gd name="connsiteY14" fmla="*/ 8454 h 10055"/>
              <a:gd name="connsiteX15" fmla="*/ 4006 w 10468"/>
              <a:gd name="connsiteY15" fmla="*/ 7918 h 10055"/>
              <a:gd name="connsiteX16" fmla="*/ 4918 w 10468"/>
              <a:gd name="connsiteY16" fmla="*/ 7340 h 10055"/>
              <a:gd name="connsiteX17" fmla="*/ 5775 w 10468"/>
              <a:gd name="connsiteY17" fmla="*/ 6647 h 10055"/>
              <a:gd name="connsiteX18" fmla="*/ 7411 w 10468"/>
              <a:gd name="connsiteY18" fmla="*/ 4642 h 10055"/>
              <a:gd name="connsiteX19" fmla="*/ 8232 w 10468"/>
              <a:gd name="connsiteY19" fmla="*/ 2871 h 10055"/>
              <a:gd name="connsiteX20" fmla="*/ 7412 w 10468"/>
              <a:gd name="connsiteY20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5313 w 10468"/>
              <a:gd name="connsiteY5" fmla="*/ 8838 h 10055"/>
              <a:gd name="connsiteX6" fmla="*/ 4195 w 10468"/>
              <a:gd name="connsiteY6" fmla="*/ 9222 h 10055"/>
              <a:gd name="connsiteX7" fmla="*/ 2857 w 10468"/>
              <a:gd name="connsiteY7" fmla="*/ 9559 h 10055"/>
              <a:gd name="connsiteX8" fmla="*/ 1496 w 10468"/>
              <a:gd name="connsiteY8" fmla="*/ 9865 h 10055"/>
              <a:gd name="connsiteX9" fmla="*/ 7 w 10468"/>
              <a:gd name="connsiteY9" fmla="*/ 9967 h 10055"/>
              <a:gd name="connsiteX10" fmla="*/ 0 w 10468"/>
              <a:gd name="connsiteY10" fmla="*/ 9311 h 10055"/>
              <a:gd name="connsiteX11" fmla="*/ 657 w 10468"/>
              <a:gd name="connsiteY11" fmla="*/ 9123 h 10055"/>
              <a:gd name="connsiteX12" fmla="*/ 1303 w 10468"/>
              <a:gd name="connsiteY12" fmla="*/ 8948 h 10055"/>
              <a:gd name="connsiteX13" fmla="*/ 2103 w 10468"/>
              <a:gd name="connsiteY13" fmla="*/ 8751 h 10055"/>
              <a:gd name="connsiteX14" fmla="*/ 2968 w 10468"/>
              <a:gd name="connsiteY14" fmla="*/ 8454 h 10055"/>
              <a:gd name="connsiteX15" fmla="*/ 4006 w 10468"/>
              <a:gd name="connsiteY15" fmla="*/ 7918 h 10055"/>
              <a:gd name="connsiteX16" fmla="*/ 4918 w 10468"/>
              <a:gd name="connsiteY16" fmla="*/ 7340 h 10055"/>
              <a:gd name="connsiteX17" fmla="*/ 5775 w 10468"/>
              <a:gd name="connsiteY17" fmla="*/ 6647 h 10055"/>
              <a:gd name="connsiteX18" fmla="*/ 7411 w 10468"/>
              <a:gd name="connsiteY18" fmla="*/ 4642 h 10055"/>
              <a:gd name="connsiteX19" fmla="*/ 8232 w 10468"/>
              <a:gd name="connsiteY19" fmla="*/ 2871 h 10055"/>
              <a:gd name="connsiteX20" fmla="*/ 7412 w 10468"/>
              <a:gd name="connsiteY20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5313 w 10468"/>
              <a:gd name="connsiteY5" fmla="*/ 8838 h 10055"/>
              <a:gd name="connsiteX6" fmla="*/ 4195 w 10468"/>
              <a:gd name="connsiteY6" fmla="*/ 9222 h 10055"/>
              <a:gd name="connsiteX7" fmla="*/ 2857 w 10468"/>
              <a:gd name="connsiteY7" fmla="*/ 9559 h 10055"/>
              <a:gd name="connsiteX8" fmla="*/ 1496 w 10468"/>
              <a:gd name="connsiteY8" fmla="*/ 9865 h 10055"/>
              <a:gd name="connsiteX9" fmla="*/ 7 w 10468"/>
              <a:gd name="connsiteY9" fmla="*/ 9967 h 10055"/>
              <a:gd name="connsiteX10" fmla="*/ 0 w 10468"/>
              <a:gd name="connsiteY10" fmla="*/ 9311 h 10055"/>
              <a:gd name="connsiteX11" fmla="*/ 657 w 10468"/>
              <a:gd name="connsiteY11" fmla="*/ 9123 h 10055"/>
              <a:gd name="connsiteX12" fmla="*/ 1303 w 10468"/>
              <a:gd name="connsiteY12" fmla="*/ 8948 h 10055"/>
              <a:gd name="connsiteX13" fmla="*/ 2103 w 10468"/>
              <a:gd name="connsiteY13" fmla="*/ 8751 h 10055"/>
              <a:gd name="connsiteX14" fmla="*/ 2968 w 10468"/>
              <a:gd name="connsiteY14" fmla="*/ 8454 h 10055"/>
              <a:gd name="connsiteX15" fmla="*/ 4006 w 10468"/>
              <a:gd name="connsiteY15" fmla="*/ 7918 h 10055"/>
              <a:gd name="connsiteX16" fmla="*/ 4918 w 10468"/>
              <a:gd name="connsiteY16" fmla="*/ 7340 h 10055"/>
              <a:gd name="connsiteX17" fmla="*/ 5775 w 10468"/>
              <a:gd name="connsiteY17" fmla="*/ 6647 h 10055"/>
              <a:gd name="connsiteX18" fmla="*/ 7411 w 10468"/>
              <a:gd name="connsiteY18" fmla="*/ 4642 h 10055"/>
              <a:gd name="connsiteX19" fmla="*/ 8232 w 10468"/>
              <a:gd name="connsiteY19" fmla="*/ 2871 h 10055"/>
              <a:gd name="connsiteX20" fmla="*/ 7412 w 10468"/>
              <a:gd name="connsiteY20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5313 w 10468"/>
              <a:gd name="connsiteY5" fmla="*/ 8838 h 10055"/>
              <a:gd name="connsiteX6" fmla="*/ 4195 w 10468"/>
              <a:gd name="connsiteY6" fmla="*/ 9222 h 10055"/>
              <a:gd name="connsiteX7" fmla="*/ 2857 w 10468"/>
              <a:gd name="connsiteY7" fmla="*/ 9559 h 10055"/>
              <a:gd name="connsiteX8" fmla="*/ 1496 w 10468"/>
              <a:gd name="connsiteY8" fmla="*/ 9865 h 10055"/>
              <a:gd name="connsiteX9" fmla="*/ 7 w 10468"/>
              <a:gd name="connsiteY9" fmla="*/ 9967 h 10055"/>
              <a:gd name="connsiteX10" fmla="*/ 0 w 10468"/>
              <a:gd name="connsiteY10" fmla="*/ 9311 h 10055"/>
              <a:gd name="connsiteX11" fmla="*/ 657 w 10468"/>
              <a:gd name="connsiteY11" fmla="*/ 9123 h 10055"/>
              <a:gd name="connsiteX12" fmla="*/ 1303 w 10468"/>
              <a:gd name="connsiteY12" fmla="*/ 8948 h 10055"/>
              <a:gd name="connsiteX13" fmla="*/ 2103 w 10468"/>
              <a:gd name="connsiteY13" fmla="*/ 8751 h 10055"/>
              <a:gd name="connsiteX14" fmla="*/ 2968 w 10468"/>
              <a:gd name="connsiteY14" fmla="*/ 8454 h 10055"/>
              <a:gd name="connsiteX15" fmla="*/ 4006 w 10468"/>
              <a:gd name="connsiteY15" fmla="*/ 7918 h 10055"/>
              <a:gd name="connsiteX16" fmla="*/ 4918 w 10468"/>
              <a:gd name="connsiteY16" fmla="*/ 7340 h 10055"/>
              <a:gd name="connsiteX17" fmla="*/ 5775 w 10468"/>
              <a:gd name="connsiteY17" fmla="*/ 6647 h 10055"/>
              <a:gd name="connsiteX18" fmla="*/ 7411 w 10468"/>
              <a:gd name="connsiteY18" fmla="*/ 4642 h 10055"/>
              <a:gd name="connsiteX19" fmla="*/ 8232 w 10468"/>
              <a:gd name="connsiteY19" fmla="*/ 2871 h 10055"/>
              <a:gd name="connsiteX20" fmla="*/ 7412 w 10468"/>
              <a:gd name="connsiteY20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5313 w 10468"/>
              <a:gd name="connsiteY5" fmla="*/ 8838 h 10055"/>
              <a:gd name="connsiteX6" fmla="*/ 4195 w 10468"/>
              <a:gd name="connsiteY6" fmla="*/ 9222 h 10055"/>
              <a:gd name="connsiteX7" fmla="*/ 2857 w 10468"/>
              <a:gd name="connsiteY7" fmla="*/ 9559 h 10055"/>
              <a:gd name="connsiteX8" fmla="*/ 1496 w 10468"/>
              <a:gd name="connsiteY8" fmla="*/ 9865 h 10055"/>
              <a:gd name="connsiteX9" fmla="*/ 7 w 10468"/>
              <a:gd name="connsiteY9" fmla="*/ 9967 h 10055"/>
              <a:gd name="connsiteX10" fmla="*/ 0 w 10468"/>
              <a:gd name="connsiteY10" fmla="*/ 9311 h 10055"/>
              <a:gd name="connsiteX11" fmla="*/ 657 w 10468"/>
              <a:gd name="connsiteY11" fmla="*/ 9123 h 10055"/>
              <a:gd name="connsiteX12" fmla="*/ 1303 w 10468"/>
              <a:gd name="connsiteY12" fmla="*/ 8948 h 10055"/>
              <a:gd name="connsiteX13" fmla="*/ 2103 w 10468"/>
              <a:gd name="connsiteY13" fmla="*/ 8751 h 10055"/>
              <a:gd name="connsiteX14" fmla="*/ 2968 w 10468"/>
              <a:gd name="connsiteY14" fmla="*/ 8454 h 10055"/>
              <a:gd name="connsiteX15" fmla="*/ 4006 w 10468"/>
              <a:gd name="connsiteY15" fmla="*/ 7918 h 10055"/>
              <a:gd name="connsiteX16" fmla="*/ 4918 w 10468"/>
              <a:gd name="connsiteY16" fmla="*/ 7340 h 10055"/>
              <a:gd name="connsiteX17" fmla="*/ 5775 w 10468"/>
              <a:gd name="connsiteY17" fmla="*/ 6647 h 10055"/>
              <a:gd name="connsiteX18" fmla="*/ 7411 w 10468"/>
              <a:gd name="connsiteY18" fmla="*/ 4642 h 10055"/>
              <a:gd name="connsiteX19" fmla="*/ 8232 w 10468"/>
              <a:gd name="connsiteY19" fmla="*/ 2871 h 10055"/>
              <a:gd name="connsiteX20" fmla="*/ 7412 w 10468"/>
              <a:gd name="connsiteY20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5313 w 10468"/>
              <a:gd name="connsiteY5" fmla="*/ 8838 h 10055"/>
              <a:gd name="connsiteX6" fmla="*/ 4195 w 10468"/>
              <a:gd name="connsiteY6" fmla="*/ 9222 h 10055"/>
              <a:gd name="connsiteX7" fmla="*/ 2857 w 10468"/>
              <a:gd name="connsiteY7" fmla="*/ 9559 h 10055"/>
              <a:gd name="connsiteX8" fmla="*/ 1496 w 10468"/>
              <a:gd name="connsiteY8" fmla="*/ 9865 h 10055"/>
              <a:gd name="connsiteX9" fmla="*/ 7 w 10468"/>
              <a:gd name="connsiteY9" fmla="*/ 9967 h 10055"/>
              <a:gd name="connsiteX10" fmla="*/ 0 w 10468"/>
              <a:gd name="connsiteY10" fmla="*/ 9311 h 10055"/>
              <a:gd name="connsiteX11" fmla="*/ 657 w 10468"/>
              <a:gd name="connsiteY11" fmla="*/ 9123 h 10055"/>
              <a:gd name="connsiteX12" fmla="*/ 1303 w 10468"/>
              <a:gd name="connsiteY12" fmla="*/ 8948 h 10055"/>
              <a:gd name="connsiteX13" fmla="*/ 2103 w 10468"/>
              <a:gd name="connsiteY13" fmla="*/ 8751 h 10055"/>
              <a:gd name="connsiteX14" fmla="*/ 2968 w 10468"/>
              <a:gd name="connsiteY14" fmla="*/ 8454 h 10055"/>
              <a:gd name="connsiteX15" fmla="*/ 4006 w 10468"/>
              <a:gd name="connsiteY15" fmla="*/ 7918 h 10055"/>
              <a:gd name="connsiteX16" fmla="*/ 4918 w 10468"/>
              <a:gd name="connsiteY16" fmla="*/ 7340 h 10055"/>
              <a:gd name="connsiteX17" fmla="*/ 5775 w 10468"/>
              <a:gd name="connsiteY17" fmla="*/ 6647 h 10055"/>
              <a:gd name="connsiteX18" fmla="*/ 7411 w 10468"/>
              <a:gd name="connsiteY18" fmla="*/ 4642 h 10055"/>
              <a:gd name="connsiteX19" fmla="*/ 8232 w 10468"/>
              <a:gd name="connsiteY19" fmla="*/ 2871 h 10055"/>
              <a:gd name="connsiteX20" fmla="*/ 7412 w 10468"/>
              <a:gd name="connsiteY20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7411 w 10468"/>
              <a:gd name="connsiteY19" fmla="*/ 4642 h 10055"/>
              <a:gd name="connsiteX20" fmla="*/ 8232 w 10468"/>
              <a:gd name="connsiteY20" fmla="*/ 2871 h 10055"/>
              <a:gd name="connsiteX21" fmla="*/ 7412 w 10468"/>
              <a:gd name="connsiteY21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36 w 10468"/>
              <a:gd name="connsiteY19" fmla="*/ 5805 h 10055"/>
              <a:gd name="connsiteX20" fmla="*/ 7411 w 10468"/>
              <a:gd name="connsiteY20" fmla="*/ 4642 h 10055"/>
              <a:gd name="connsiteX21" fmla="*/ 8232 w 10468"/>
              <a:gd name="connsiteY21" fmla="*/ 2871 h 10055"/>
              <a:gd name="connsiteX22" fmla="*/ 7412 w 10468"/>
              <a:gd name="connsiteY22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8232 w 10468"/>
              <a:gd name="connsiteY21" fmla="*/ 2871 h 10055"/>
              <a:gd name="connsiteX22" fmla="*/ 7412 w 10468"/>
              <a:gd name="connsiteY22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8232 w 10468"/>
              <a:gd name="connsiteY21" fmla="*/ 2871 h 10055"/>
              <a:gd name="connsiteX22" fmla="*/ 7412 w 10468"/>
              <a:gd name="connsiteY22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8232 w 10468"/>
              <a:gd name="connsiteY21" fmla="*/ 2871 h 10055"/>
              <a:gd name="connsiteX22" fmla="*/ 7412 w 10468"/>
              <a:gd name="connsiteY22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8232 w 10468"/>
              <a:gd name="connsiteY21" fmla="*/ 2871 h 10055"/>
              <a:gd name="connsiteX22" fmla="*/ 7412 w 10468"/>
              <a:gd name="connsiteY22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8232 w 10468"/>
              <a:gd name="connsiteY21" fmla="*/ 2871 h 10055"/>
              <a:gd name="connsiteX22" fmla="*/ 7412 w 10468"/>
              <a:gd name="connsiteY22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8232 w 10468"/>
              <a:gd name="connsiteY21" fmla="*/ 2871 h 10055"/>
              <a:gd name="connsiteX22" fmla="*/ 7412 w 10468"/>
              <a:gd name="connsiteY22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7876 w 10468"/>
              <a:gd name="connsiteY21" fmla="*/ 3726 h 10055"/>
              <a:gd name="connsiteX22" fmla="*/ 8232 w 10468"/>
              <a:gd name="connsiteY22" fmla="*/ 2871 h 10055"/>
              <a:gd name="connsiteX23" fmla="*/ 7412 w 10468"/>
              <a:gd name="connsiteY23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7876 w 10468"/>
              <a:gd name="connsiteY21" fmla="*/ 3726 h 10055"/>
              <a:gd name="connsiteX22" fmla="*/ 8232 w 10468"/>
              <a:gd name="connsiteY22" fmla="*/ 2871 h 10055"/>
              <a:gd name="connsiteX23" fmla="*/ 7412 w 10468"/>
              <a:gd name="connsiteY23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7876 w 10468"/>
              <a:gd name="connsiteY21" fmla="*/ 3726 h 10055"/>
              <a:gd name="connsiteX22" fmla="*/ 8232 w 10468"/>
              <a:gd name="connsiteY22" fmla="*/ 2871 h 10055"/>
              <a:gd name="connsiteX23" fmla="*/ 7412 w 10468"/>
              <a:gd name="connsiteY23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7876 w 10468"/>
              <a:gd name="connsiteY21" fmla="*/ 3726 h 10055"/>
              <a:gd name="connsiteX22" fmla="*/ 8232 w 10468"/>
              <a:gd name="connsiteY22" fmla="*/ 2871 h 10055"/>
              <a:gd name="connsiteX23" fmla="*/ 7412 w 10468"/>
              <a:gd name="connsiteY23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7876 w 10468"/>
              <a:gd name="connsiteY21" fmla="*/ 3726 h 10055"/>
              <a:gd name="connsiteX22" fmla="*/ 8232 w 10468"/>
              <a:gd name="connsiteY22" fmla="*/ 2871 h 10055"/>
              <a:gd name="connsiteX23" fmla="*/ 7412 w 10468"/>
              <a:gd name="connsiteY23" fmla="*/ 2024 h 10055"/>
              <a:gd name="connsiteX0" fmla="*/ 7412 w 10468"/>
              <a:gd name="connsiteY0" fmla="*/ 2024 h 10055"/>
              <a:gd name="connsiteX1" fmla="*/ 10000 w 10468"/>
              <a:gd name="connsiteY1" fmla="*/ 0 h 10055"/>
              <a:gd name="connsiteX2" fmla="*/ 10468 w 10468"/>
              <a:gd name="connsiteY2" fmla="*/ 5040 h 10055"/>
              <a:gd name="connsiteX3" fmla="*/ 9561 w 10468"/>
              <a:gd name="connsiteY3" fmla="*/ 4027 h 10055"/>
              <a:gd name="connsiteX4" fmla="*/ 8354 w 10468"/>
              <a:gd name="connsiteY4" fmla="*/ 6251 h 10055"/>
              <a:gd name="connsiteX5" fmla="*/ 6830 w 10468"/>
              <a:gd name="connsiteY5" fmla="*/ 7860 h 10055"/>
              <a:gd name="connsiteX6" fmla="*/ 5313 w 10468"/>
              <a:gd name="connsiteY6" fmla="*/ 8838 h 10055"/>
              <a:gd name="connsiteX7" fmla="*/ 4195 w 10468"/>
              <a:gd name="connsiteY7" fmla="*/ 9222 h 10055"/>
              <a:gd name="connsiteX8" fmla="*/ 2857 w 10468"/>
              <a:gd name="connsiteY8" fmla="*/ 9559 h 10055"/>
              <a:gd name="connsiteX9" fmla="*/ 1496 w 10468"/>
              <a:gd name="connsiteY9" fmla="*/ 9865 h 10055"/>
              <a:gd name="connsiteX10" fmla="*/ 7 w 10468"/>
              <a:gd name="connsiteY10" fmla="*/ 9967 h 10055"/>
              <a:gd name="connsiteX11" fmla="*/ 0 w 10468"/>
              <a:gd name="connsiteY11" fmla="*/ 9311 h 10055"/>
              <a:gd name="connsiteX12" fmla="*/ 657 w 10468"/>
              <a:gd name="connsiteY12" fmla="*/ 9123 h 10055"/>
              <a:gd name="connsiteX13" fmla="*/ 1303 w 10468"/>
              <a:gd name="connsiteY13" fmla="*/ 8948 h 10055"/>
              <a:gd name="connsiteX14" fmla="*/ 2103 w 10468"/>
              <a:gd name="connsiteY14" fmla="*/ 8751 h 10055"/>
              <a:gd name="connsiteX15" fmla="*/ 2968 w 10468"/>
              <a:gd name="connsiteY15" fmla="*/ 8454 h 10055"/>
              <a:gd name="connsiteX16" fmla="*/ 4006 w 10468"/>
              <a:gd name="connsiteY16" fmla="*/ 7918 h 10055"/>
              <a:gd name="connsiteX17" fmla="*/ 4918 w 10468"/>
              <a:gd name="connsiteY17" fmla="*/ 7340 h 10055"/>
              <a:gd name="connsiteX18" fmla="*/ 5775 w 10468"/>
              <a:gd name="connsiteY18" fmla="*/ 6647 h 10055"/>
              <a:gd name="connsiteX19" fmla="*/ 6662 w 10468"/>
              <a:gd name="connsiteY19" fmla="*/ 5706 h 10055"/>
              <a:gd name="connsiteX20" fmla="*/ 7411 w 10468"/>
              <a:gd name="connsiteY20" fmla="*/ 4642 h 10055"/>
              <a:gd name="connsiteX21" fmla="*/ 7876 w 10468"/>
              <a:gd name="connsiteY21" fmla="*/ 3726 h 10055"/>
              <a:gd name="connsiteX22" fmla="*/ 8232 w 10468"/>
              <a:gd name="connsiteY22" fmla="*/ 2871 h 10055"/>
              <a:gd name="connsiteX23" fmla="*/ 7412 w 10468"/>
              <a:gd name="connsiteY23" fmla="*/ 2024 h 10055"/>
              <a:gd name="connsiteX0" fmla="*/ 7412 w 10468"/>
              <a:gd name="connsiteY0" fmla="*/ 2024 h 9967"/>
              <a:gd name="connsiteX1" fmla="*/ 10000 w 10468"/>
              <a:gd name="connsiteY1" fmla="*/ 0 h 9967"/>
              <a:gd name="connsiteX2" fmla="*/ 10468 w 10468"/>
              <a:gd name="connsiteY2" fmla="*/ 5040 h 9967"/>
              <a:gd name="connsiteX3" fmla="*/ 9561 w 10468"/>
              <a:gd name="connsiteY3" fmla="*/ 4027 h 9967"/>
              <a:gd name="connsiteX4" fmla="*/ 8354 w 10468"/>
              <a:gd name="connsiteY4" fmla="*/ 6251 h 9967"/>
              <a:gd name="connsiteX5" fmla="*/ 6830 w 10468"/>
              <a:gd name="connsiteY5" fmla="*/ 7860 h 9967"/>
              <a:gd name="connsiteX6" fmla="*/ 5313 w 10468"/>
              <a:gd name="connsiteY6" fmla="*/ 8838 h 9967"/>
              <a:gd name="connsiteX7" fmla="*/ 4195 w 10468"/>
              <a:gd name="connsiteY7" fmla="*/ 9222 h 9967"/>
              <a:gd name="connsiteX8" fmla="*/ 2857 w 10468"/>
              <a:gd name="connsiteY8" fmla="*/ 9559 h 9967"/>
              <a:gd name="connsiteX9" fmla="*/ 1496 w 10468"/>
              <a:gd name="connsiteY9" fmla="*/ 9865 h 9967"/>
              <a:gd name="connsiteX10" fmla="*/ 7 w 10468"/>
              <a:gd name="connsiteY10" fmla="*/ 9967 h 9967"/>
              <a:gd name="connsiteX11" fmla="*/ 0 w 10468"/>
              <a:gd name="connsiteY11" fmla="*/ 9311 h 9967"/>
              <a:gd name="connsiteX12" fmla="*/ 657 w 10468"/>
              <a:gd name="connsiteY12" fmla="*/ 9123 h 9967"/>
              <a:gd name="connsiteX13" fmla="*/ 1303 w 10468"/>
              <a:gd name="connsiteY13" fmla="*/ 8948 h 9967"/>
              <a:gd name="connsiteX14" fmla="*/ 2103 w 10468"/>
              <a:gd name="connsiteY14" fmla="*/ 8751 h 9967"/>
              <a:gd name="connsiteX15" fmla="*/ 2968 w 10468"/>
              <a:gd name="connsiteY15" fmla="*/ 8454 h 9967"/>
              <a:gd name="connsiteX16" fmla="*/ 4006 w 10468"/>
              <a:gd name="connsiteY16" fmla="*/ 7918 h 9967"/>
              <a:gd name="connsiteX17" fmla="*/ 4918 w 10468"/>
              <a:gd name="connsiteY17" fmla="*/ 7340 h 9967"/>
              <a:gd name="connsiteX18" fmla="*/ 5775 w 10468"/>
              <a:gd name="connsiteY18" fmla="*/ 6647 h 9967"/>
              <a:gd name="connsiteX19" fmla="*/ 6662 w 10468"/>
              <a:gd name="connsiteY19" fmla="*/ 5706 h 9967"/>
              <a:gd name="connsiteX20" fmla="*/ 7411 w 10468"/>
              <a:gd name="connsiteY20" fmla="*/ 4642 h 9967"/>
              <a:gd name="connsiteX21" fmla="*/ 7876 w 10468"/>
              <a:gd name="connsiteY21" fmla="*/ 3726 h 9967"/>
              <a:gd name="connsiteX22" fmla="*/ 8232 w 10468"/>
              <a:gd name="connsiteY22" fmla="*/ 2871 h 9967"/>
              <a:gd name="connsiteX23" fmla="*/ 7412 w 10468"/>
              <a:gd name="connsiteY23" fmla="*/ 2024 h 9967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7981 w 10000"/>
              <a:gd name="connsiteY4" fmla="*/ 6272 h 10000"/>
              <a:gd name="connsiteX5" fmla="*/ 6525 w 10000"/>
              <a:gd name="connsiteY5" fmla="*/ 7886 h 10000"/>
              <a:gd name="connsiteX6" fmla="*/ 5075 w 10000"/>
              <a:gd name="connsiteY6" fmla="*/ 8867 h 10000"/>
              <a:gd name="connsiteX7" fmla="*/ 4007 w 10000"/>
              <a:gd name="connsiteY7" fmla="*/ 9253 h 10000"/>
              <a:gd name="connsiteX8" fmla="*/ 2729 w 10000"/>
              <a:gd name="connsiteY8" fmla="*/ 9591 h 10000"/>
              <a:gd name="connsiteX9" fmla="*/ 1429 w 10000"/>
              <a:gd name="connsiteY9" fmla="*/ 9898 h 10000"/>
              <a:gd name="connsiteX10" fmla="*/ 775 w 10000"/>
              <a:gd name="connsiteY10" fmla="*/ 9923 h 10000"/>
              <a:gd name="connsiteX11" fmla="*/ 7 w 10000"/>
              <a:gd name="connsiteY11" fmla="*/ 10000 h 10000"/>
              <a:gd name="connsiteX12" fmla="*/ 0 w 10000"/>
              <a:gd name="connsiteY12" fmla="*/ 9342 h 10000"/>
              <a:gd name="connsiteX13" fmla="*/ 628 w 10000"/>
              <a:gd name="connsiteY13" fmla="*/ 9153 h 10000"/>
              <a:gd name="connsiteX14" fmla="*/ 1245 w 10000"/>
              <a:gd name="connsiteY14" fmla="*/ 8978 h 10000"/>
              <a:gd name="connsiteX15" fmla="*/ 2009 w 10000"/>
              <a:gd name="connsiteY15" fmla="*/ 8780 h 10000"/>
              <a:gd name="connsiteX16" fmla="*/ 2835 w 10000"/>
              <a:gd name="connsiteY16" fmla="*/ 8482 h 10000"/>
              <a:gd name="connsiteX17" fmla="*/ 3827 w 10000"/>
              <a:gd name="connsiteY17" fmla="*/ 7944 h 10000"/>
              <a:gd name="connsiteX18" fmla="*/ 4698 w 10000"/>
              <a:gd name="connsiteY18" fmla="*/ 7364 h 10000"/>
              <a:gd name="connsiteX19" fmla="*/ 5517 w 10000"/>
              <a:gd name="connsiteY19" fmla="*/ 6669 h 10000"/>
              <a:gd name="connsiteX20" fmla="*/ 6364 w 10000"/>
              <a:gd name="connsiteY20" fmla="*/ 5725 h 10000"/>
              <a:gd name="connsiteX21" fmla="*/ 7080 w 10000"/>
              <a:gd name="connsiteY21" fmla="*/ 4657 h 10000"/>
              <a:gd name="connsiteX22" fmla="*/ 7524 w 10000"/>
              <a:gd name="connsiteY22" fmla="*/ 3738 h 10000"/>
              <a:gd name="connsiteX23" fmla="*/ 7864 w 10000"/>
              <a:gd name="connsiteY23" fmla="*/ 2881 h 10000"/>
              <a:gd name="connsiteX24" fmla="*/ 7081 w 10000"/>
              <a:gd name="connsiteY24" fmla="*/ 2031 h 10000"/>
              <a:gd name="connsiteX0" fmla="*/ 7081 w 10000"/>
              <a:gd name="connsiteY0" fmla="*/ 2031 h 10097"/>
              <a:gd name="connsiteX1" fmla="*/ 9553 w 10000"/>
              <a:gd name="connsiteY1" fmla="*/ 0 h 10097"/>
              <a:gd name="connsiteX2" fmla="*/ 10000 w 10000"/>
              <a:gd name="connsiteY2" fmla="*/ 5057 h 10097"/>
              <a:gd name="connsiteX3" fmla="*/ 9134 w 10000"/>
              <a:gd name="connsiteY3" fmla="*/ 4040 h 10097"/>
              <a:gd name="connsiteX4" fmla="*/ 7981 w 10000"/>
              <a:gd name="connsiteY4" fmla="*/ 6272 h 10097"/>
              <a:gd name="connsiteX5" fmla="*/ 6525 w 10000"/>
              <a:gd name="connsiteY5" fmla="*/ 7886 h 10097"/>
              <a:gd name="connsiteX6" fmla="*/ 5075 w 10000"/>
              <a:gd name="connsiteY6" fmla="*/ 8867 h 10097"/>
              <a:gd name="connsiteX7" fmla="*/ 4007 w 10000"/>
              <a:gd name="connsiteY7" fmla="*/ 9253 h 10097"/>
              <a:gd name="connsiteX8" fmla="*/ 2729 w 10000"/>
              <a:gd name="connsiteY8" fmla="*/ 9591 h 10097"/>
              <a:gd name="connsiteX9" fmla="*/ 1429 w 10000"/>
              <a:gd name="connsiteY9" fmla="*/ 9898 h 10097"/>
              <a:gd name="connsiteX10" fmla="*/ 775 w 10000"/>
              <a:gd name="connsiteY10" fmla="*/ 9923 h 10097"/>
              <a:gd name="connsiteX11" fmla="*/ 7 w 10000"/>
              <a:gd name="connsiteY11" fmla="*/ 10000 h 10097"/>
              <a:gd name="connsiteX12" fmla="*/ 0 w 10000"/>
              <a:gd name="connsiteY12" fmla="*/ 9342 h 10097"/>
              <a:gd name="connsiteX13" fmla="*/ 628 w 10000"/>
              <a:gd name="connsiteY13" fmla="*/ 9153 h 10097"/>
              <a:gd name="connsiteX14" fmla="*/ 1245 w 10000"/>
              <a:gd name="connsiteY14" fmla="*/ 8978 h 10097"/>
              <a:gd name="connsiteX15" fmla="*/ 2009 w 10000"/>
              <a:gd name="connsiteY15" fmla="*/ 8780 h 10097"/>
              <a:gd name="connsiteX16" fmla="*/ 2835 w 10000"/>
              <a:gd name="connsiteY16" fmla="*/ 8482 h 10097"/>
              <a:gd name="connsiteX17" fmla="*/ 3827 w 10000"/>
              <a:gd name="connsiteY17" fmla="*/ 7944 h 10097"/>
              <a:gd name="connsiteX18" fmla="*/ 4698 w 10000"/>
              <a:gd name="connsiteY18" fmla="*/ 7364 h 10097"/>
              <a:gd name="connsiteX19" fmla="*/ 5517 w 10000"/>
              <a:gd name="connsiteY19" fmla="*/ 6669 h 10097"/>
              <a:gd name="connsiteX20" fmla="*/ 6364 w 10000"/>
              <a:gd name="connsiteY20" fmla="*/ 5725 h 10097"/>
              <a:gd name="connsiteX21" fmla="*/ 7080 w 10000"/>
              <a:gd name="connsiteY21" fmla="*/ 4657 h 10097"/>
              <a:gd name="connsiteX22" fmla="*/ 7524 w 10000"/>
              <a:gd name="connsiteY22" fmla="*/ 3738 h 10097"/>
              <a:gd name="connsiteX23" fmla="*/ 7864 w 10000"/>
              <a:gd name="connsiteY23" fmla="*/ 2881 h 10097"/>
              <a:gd name="connsiteX24" fmla="*/ 7081 w 10000"/>
              <a:gd name="connsiteY24" fmla="*/ 2031 h 10097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7981 w 10000"/>
              <a:gd name="connsiteY4" fmla="*/ 6272 h 10000"/>
              <a:gd name="connsiteX5" fmla="*/ 6525 w 10000"/>
              <a:gd name="connsiteY5" fmla="*/ 7886 h 10000"/>
              <a:gd name="connsiteX6" fmla="*/ 5075 w 10000"/>
              <a:gd name="connsiteY6" fmla="*/ 8867 h 10000"/>
              <a:gd name="connsiteX7" fmla="*/ 4007 w 10000"/>
              <a:gd name="connsiteY7" fmla="*/ 9253 h 10000"/>
              <a:gd name="connsiteX8" fmla="*/ 2729 w 10000"/>
              <a:gd name="connsiteY8" fmla="*/ 9591 h 10000"/>
              <a:gd name="connsiteX9" fmla="*/ 1429 w 10000"/>
              <a:gd name="connsiteY9" fmla="*/ 9898 h 10000"/>
              <a:gd name="connsiteX10" fmla="*/ 775 w 10000"/>
              <a:gd name="connsiteY10" fmla="*/ 9923 h 10000"/>
              <a:gd name="connsiteX11" fmla="*/ 7 w 10000"/>
              <a:gd name="connsiteY11" fmla="*/ 10000 h 10000"/>
              <a:gd name="connsiteX12" fmla="*/ 0 w 10000"/>
              <a:gd name="connsiteY12" fmla="*/ 9342 h 10000"/>
              <a:gd name="connsiteX13" fmla="*/ 628 w 10000"/>
              <a:gd name="connsiteY13" fmla="*/ 9153 h 10000"/>
              <a:gd name="connsiteX14" fmla="*/ 1245 w 10000"/>
              <a:gd name="connsiteY14" fmla="*/ 8978 h 10000"/>
              <a:gd name="connsiteX15" fmla="*/ 2009 w 10000"/>
              <a:gd name="connsiteY15" fmla="*/ 8780 h 10000"/>
              <a:gd name="connsiteX16" fmla="*/ 2835 w 10000"/>
              <a:gd name="connsiteY16" fmla="*/ 8482 h 10000"/>
              <a:gd name="connsiteX17" fmla="*/ 3827 w 10000"/>
              <a:gd name="connsiteY17" fmla="*/ 7944 h 10000"/>
              <a:gd name="connsiteX18" fmla="*/ 4698 w 10000"/>
              <a:gd name="connsiteY18" fmla="*/ 7364 h 10000"/>
              <a:gd name="connsiteX19" fmla="*/ 5517 w 10000"/>
              <a:gd name="connsiteY19" fmla="*/ 6669 h 10000"/>
              <a:gd name="connsiteX20" fmla="*/ 6364 w 10000"/>
              <a:gd name="connsiteY20" fmla="*/ 5725 h 10000"/>
              <a:gd name="connsiteX21" fmla="*/ 7080 w 10000"/>
              <a:gd name="connsiteY21" fmla="*/ 4657 h 10000"/>
              <a:gd name="connsiteX22" fmla="*/ 7524 w 10000"/>
              <a:gd name="connsiteY22" fmla="*/ 3738 h 10000"/>
              <a:gd name="connsiteX23" fmla="*/ 7864 w 10000"/>
              <a:gd name="connsiteY23" fmla="*/ 2881 h 10000"/>
              <a:gd name="connsiteX24" fmla="*/ 7081 w 10000"/>
              <a:gd name="connsiteY24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7981 w 10000"/>
              <a:gd name="connsiteY4" fmla="*/ 6272 h 10000"/>
              <a:gd name="connsiteX5" fmla="*/ 6525 w 10000"/>
              <a:gd name="connsiteY5" fmla="*/ 7886 h 10000"/>
              <a:gd name="connsiteX6" fmla="*/ 5075 w 10000"/>
              <a:gd name="connsiteY6" fmla="*/ 8867 h 10000"/>
              <a:gd name="connsiteX7" fmla="*/ 4007 w 10000"/>
              <a:gd name="connsiteY7" fmla="*/ 9253 h 10000"/>
              <a:gd name="connsiteX8" fmla="*/ 2729 w 10000"/>
              <a:gd name="connsiteY8" fmla="*/ 9591 h 10000"/>
              <a:gd name="connsiteX9" fmla="*/ 1429 w 10000"/>
              <a:gd name="connsiteY9" fmla="*/ 9898 h 10000"/>
              <a:gd name="connsiteX10" fmla="*/ 775 w 10000"/>
              <a:gd name="connsiteY10" fmla="*/ 9973 h 10000"/>
              <a:gd name="connsiteX11" fmla="*/ 7 w 10000"/>
              <a:gd name="connsiteY11" fmla="*/ 10000 h 10000"/>
              <a:gd name="connsiteX12" fmla="*/ 0 w 10000"/>
              <a:gd name="connsiteY12" fmla="*/ 9342 h 10000"/>
              <a:gd name="connsiteX13" fmla="*/ 628 w 10000"/>
              <a:gd name="connsiteY13" fmla="*/ 9153 h 10000"/>
              <a:gd name="connsiteX14" fmla="*/ 1245 w 10000"/>
              <a:gd name="connsiteY14" fmla="*/ 8978 h 10000"/>
              <a:gd name="connsiteX15" fmla="*/ 2009 w 10000"/>
              <a:gd name="connsiteY15" fmla="*/ 8780 h 10000"/>
              <a:gd name="connsiteX16" fmla="*/ 2835 w 10000"/>
              <a:gd name="connsiteY16" fmla="*/ 8482 h 10000"/>
              <a:gd name="connsiteX17" fmla="*/ 3827 w 10000"/>
              <a:gd name="connsiteY17" fmla="*/ 7944 h 10000"/>
              <a:gd name="connsiteX18" fmla="*/ 4698 w 10000"/>
              <a:gd name="connsiteY18" fmla="*/ 7364 h 10000"/>
              <a:gd name="connsiteX19" fmla="*/ 5517 w 10000"/>
              <a:gd name="connsiteY19" fmla="*/ 6669 h 10000"/>
              <a:gd name="connsiteX20" fmla="*/ 6364 w 10000"/>
              <a:gd name="connsiteY20" fmla="*/ 5725 h 10000"/>
              <a:gd name="connsiteX21" fmla="*/ 7080 w 10000"/>
              <a:gd name="connsiteY21" fmla="*/ 4657 h 10000"/>
              <a:gd name="connsiteX22" fmla="*/ 7524 w 10000"/>
              <a:gd name="connsiteY22" fmla="*/ 3738 h 10000"/>
              <a:gd name="connsiteX23" fmla="*/ 7864 w 10000"/>
              <a:gd name="connsiteY23" fmla="*/ 2881 h 10000"/>
              <a:gd name="connsiteX24" fmla="*/ 7081 w 10000"/>
              <a:gd name="connsiteY24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7981 w 10000"/>
              <a:gd name="connsiteY4" fmla="*/ 6272 h 10000"/>
              <a:gd name="connsiteX5" fmla="*/ 6525 w 10000"/>
              <a:gd name="connsiteY5" fmla="*/ 7886 h 10000"/>
              <a:gd name="connsiteX6" fmla="*/ 5075 w 10000"/>
              <a:gd name="connsiteY6" fmla="*/ 8867 h 10000"/>
              <a:gd name="connsiteX7" fmla="*/ 4007 w 10000"/>
              <a:gd name="connsiteY7" fmla="*/ 9253 h 10000"/>
              <a:gd name="connsiteX8" fmla="*/ 2729 w 10000"/>
              <a:gd name="connsiteY8" fmla="*/ 9591 h 10000"/>
              <a:gd name="connsiteX9" fmla="*/ 1663 w 10000"/>
              <a:gd name="connsiteY9" fmla="*/ 9823 h 10000"/>
              <a:gd name="connsiteX10" fmla="*/ 775 w 10000"/>
              <a:gd name="connsiteY10" fmla="*/ 9973 h 10000"/>
              <a:gd name="connsiteX11" fmla="*/ 7 w 10000"/>
              <a:gd name="connsiteY11" fmla="*/ 10000 h 10000"/>
              <a:gd name="connsiteX12" fmla="*/ 0 w 10000"/>
              <a:gd name="connsiteY12" fmla="*/ 9342 h 10000"/>
              <a:gd name="connsiteX13" fmla="*/ 628 w 10000"/>
              <a:gd name="connsiteY13" fmla="*/ 9153 h 10000"/>
              <a:gd name="connsiteX14" fmla="*/ 1245 w 10000"/>
              <a:gd name="connsiteY14" fmla="*/ 8978 h 10000"/>
              <a:gd name="connsiteX15" fmla="*/ 2009 w 10000"/>
              <a:gd name="connsiteY15" fmla="*/ 8780 h 10000"/>
              <a:gd name="connsiteX16" fmla="*/ 2835 w 10000"/>
              <a:gd name="connsiteY16" fmla="*/ 8482 h 10000"/>
              <a:gd name="connsiteX17" fmla="*/ 3827 w 10000"/>
              <a:gd name="connsiteY17" fmla="*/ 7944 h 10000"/>
              <a:gd name="connsiteX18" fmla="*/ 4698 w 10000"/>
              <a:gd name="connsiteY18" fmla="*/ 7364 h 10000"/>
              <a:gd name="connsiteX19" fmla="*/ 5517 w 10000"/>
              <a:gd name="connsiteY19" fmla="*/ 6669 h 10000"/>
              <a:gd name="connsiteX20" fmla="*/ 6364 w 10000"/>
              <a:gd name="connsiteY20" fmla="*/ 5725 h 10000"/>
              <a:gd name="connsiteX21" fmla="*/ 7080 w 10000"/>
              <a:gd name="connsiteY21" fmla="*/ 4657 h 10000"/>
              <a:gd name="connsiteX22" fmla="*/ 7524 w 10000"/>
              <a:gd name="connsiteY22" fmla="*/ 3738 h 10000"/>
              <a:gd name="connsiteX23" fmla="*/ 7864 w 10000"/>
              <a:gd name="connsiteY23" fmla="*/ 2881 h 10000"/>
              <a:gd name="connsiteX24" fmla="*/ 7081 w 10000"/>
              <a:gd name="connsiteY24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7981 w 10000"/>
              <a:gd name="connsiteY4" fmla="*/ 6272 h 10000"/>
              <a:gd name="connsiteX5" fmla="*/ 6525 w 10000"/>
              <a:gd name="connsiteY5" fmla="*/ 7886 h 10000"/>
              <a:gd name="connsiteX6" fmla="*/ 5075 w 10000"/>
              <a:gd name="connsiteY6" fmla="*/ 8867 h 10000"/>
              <a:gd name="connsiteX7" fmla="*/ 4007 w 10000"/>
              <a:gd name="connsiteY7" fmla="*/ 9253 h 10000"/>
              <a:gd name="connsiteX8" fmla="*/ 2815 w 10000"/>
              <a:gd name="connsiteY8" fmla="*/ 9616 h 10000"/>
              <a:gd name="connsiteX9" fmla="*/ 1663 w 10000"/>
              <a:gd name="connsiteY9" fmla="*/ 9823 h 10000"/>
              <a:gd name="connsiteX10" fmla="*/ 775 w 10000"/>
              <a:gd name="connsiteY10" fmla="*/ 9973 h 10000"/>
              <a:gd name="connsiteX11" fmla="*/ 7 w 10000"/>
              <a:gd name="connsiteY11" fmla="*/ 10000 h 10000"/>
              <a:gd name="connsiteX12" fmla="*/ 0 w 10000"/>
              <a:gd name="connsiteY12" fmla="*/ 9342 h 10000"/>
              <a:gd name="connsiteX13" fmla="*/ 628 w 10000"/>
              <a:gd name="connsiteY13" fmla="*/ 9153 h 10000"/>
              <a:gd name="connsiteX14" fmla="*/ 1245 w 10000"/>
              <a:gd name="connsiteY14" fmla="*/ 8978 h 10000"/>
              <a:gd name="connsiteX15" fmla="*/ 2009 w 10000"/>
              <a:gd name="connsiteY15" fmla="*/ 8780 h 10000"/>
              <a:gd name="connsiteX16" fmla="*/ 2835 w 10000"/>
              <a:gd name="connsiteY16" fmla="*/ 8482 h 10000"/>
              <a:gd name="connsiteX17" fmla="*/ 3827 w 10000"/>
              <a:gd name="connsiteY17" fmla="*/ 7944 h 10000"/>
              <a:gd name="connsiteX18" fmla="*/ 4698 w 10000"/>
              <a:gd name="connsiteY18" fmla="*/ 7364 h 10000"/>
              <a:gd name="connsiteX19" fmla="*/ 5517 w 10000"/>
              <a:gd name="connsiteY19" fmla="*/ 6669 h 10000"/>
              <a:gd name="connsiteX20" fmla="*/ 6364 w 10000"/>
              <a:gd name="connsiteY20" fmla="*/ 5725 h 10000"/>
              <a:gd name="connsiteX21" fmla="*/ 7080 w 10000"/>
              <a:gd name="connsiteY21" fmla="*/ 4657 h 10000"/>
              <a:gd name="connsiteX22" fmla="*/ 7524 w 10000"/>
              <a:gd name="connsiteY22" fmla="*/ 3738 h 10000"/>
              <a:gd name="connsiteX23" fmla="*/ 7864 w 10000"/>
              <a:gd name="connsiteY23" fmla="*/ 2881 h 10000"/>
              <a:gd name="connsiteX24" fmla="*/ 7081 w 10000"/>
              <a:gd name="connsiteY24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7981 w 10000"/>
              <a:gd name="connsiteY4" fmla="*/ 6272 h 10000"/>
              <a:gd name="connsiteX5" fmla="*/ 6525 w 10000"/>
              <a:gd name="connsiteY5" fmla="*/ 7886 h 10000"/>
              <a:gd name="connsiteX6" fmla="*/ 5075 w 10000"/>
              <a:gd name="connsiteY6" fmla="*/ 8867 h 10000"/>
              <a:gd name="connsiteX7" fmla="*/ 4081 w 10000"/>
              <a:gd name="connsiteY7" fmla="*/ 9303 h 10000"/>
              <a:gd name="connsiteX8" fmla="*/ 2815 w 10000"/>
              <a:gd name="connsiteY8" fmla="*/ 9616 h 10000"/>
              <a:gd name="connsiteX9" fmla="*/ 1663 w 10000"/>
              <a:gd name="connsiteY9" fmla="*/ 9823 h 10000"/>
              <a:gd name="connsiteX10" fmla="*/ 775 w 10000"/>
              <a:gd name="connsiteY10" fmla="*/ 9973 h 10000"/>
              <a:gd name="connsiteX11" fmla="*/ 7 w 10000"/>
              <a:gd name="connsiteY11" fmla="*/ 10000 h 10000"/>
              <a:gd name="connsiteX12" fmla="*/ 0 w 10000"/>
              <a:gd name="connsiteY12" fmla="*/ 9342 h 10000"/>
              <a:gd name="connsiteX13" fmla="*/ 628 w 10000"/>
              <a:gd name="connsiteY13" fmla="*/ 9153 h 10000"/>
              <a:gd name="connsiteX14" fmla="*/ 1245 w 10000"/>
              <a:gd name="connsiteY14" fmla="*/ 8978 h 10000"/>
              <a:gd name="connsiteX15" fmla="*/ 2009 w 10000"/>
              <a:gd name="connsiteY15" fmla="*/ 8780 h 10000"/>
              <a:gd name="connsiteX16" fmla="*/ 2835 w 10000"/>
              <a:gd name="connsiteY16" fmla="*/ 8482 h 10000"/>
              <a:gd name="connsiteX17" fmla="*/ 3827 w 10000"/>
              <a:gd name="connsiteY17" fmla="*/ 7944 h 10000"/>
              <a:gd name="connsiteX18" fmla="*/ 4698 w 10000"/>
              <a:gd name="connsiteY18" fmla="*/ 7364 h 10000"/>
              <a:gd name="connsiteX19" fmla="*/ 5517 w 10000"/>
              <a:gd name="connsiteY19" fmla="*/ 6669 h 10000"/>
              <a:gd name="connsiteX20" fmla="*/ 6364 w 10000"/>
              <a:gd name="connsiteY20" fmla="*/ 5725 h 10000"/>
              <a:gd name="connsiteX21" fmla="*/ 7080 w 10000"/>
              <a:gd name="connsiteY21" fmla="*/ 4657 h 10000"/>
              <a:gd name="connsiteX22" fmla="*/ 7524 w 10000"/>
              <a:gd name="connsiteY22" fmla="*/ 3738 h 10000"/>
              <a:gd name="connsiteX23" fmla="*/ 7864 w 10000"/>
              <a:gd name="connsiteY23" fmla="*/ 2881 h 10000"/>
              <a:gd name="connsiteX24" fmla="*/ 7081 w 10000"/>
              <a:gd name="connsiteY24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6525 w 10000"/>
              <a:gd name="connsiteY6" fmla="*/ 7886 h 10000"/>
              <a:gd name="connsiteX7" fmla="*/ 5075 w 10000"/>
              <a:gd name="connsiteY7" fmla="*/ 8867 h 10000"/>
              <a:gd name="connsiteX8" fmla="*/ 4081 w 10000"/>
              <a:gd name="connsiteY8" fmla="*/ 9303 h 10000"/>
              <a:gd name="connsiteX9" fmla="*/ 2815 w 10000"/>
              <a:gd name="connsiteY9" fmla="*/ 9616 h 10000"/>
              <a:gd name="connsiteX10" fmla="*/ 1663 w 10000"/>
              <a:gd name="connsiteY10" fmla="*/ 9823 h 10000"/>
              <a:gd name="connsiteX11" fmla="*/ 775 w 10000"/>
              <a:gd name="connsiteY11" fmla="*/ 9973 h 10000"/>
              <a:gd name="connsiteX12" fmla="*/ 7 w 10000"/>
              <a:gd name="connsiteY12" fmla="*/ 10000 h 10000"/>
              <a:gd name="connsiteX13" fmla="*/ 0 w 10000"/>
              <a:gd name="connsiteY13" fmla="*/ 9342 h 10000"/>
              <a:gd name="connsiteX14" fmla="*/ 628 w 10000"/>
              <a:gd name="connsiteY14" fmla="*/ 9153 h 10000"/>
              <a:gd name="connsiteX15" fmla="*/ 1245 w 10000"/>
              <a:gd name="connsiteY15" fmla="*/ 8978 h 10000"/>
              <a:gd name="connsiteX16" fmla="*/ 2009 w 10000"/>
              <a:gd name="connsiteY16" fmla="*/ 8780 h 10000"/>
              <a:gd name="connsiteX17" fmla="*/ 2835 w 10000"/>
              <a:gd name="connsiteY17" fmla="*/ 8482 h 10000"/>
              <a:gd name="connsiteX18" fmla="*/ 3827 w 10000"/>
              <a:gd name="connsiteY18" fmla="*/ 7944 h 10000"/>
              <a:gd name="connsiteX19" fmla="*/ 4698 w 10000"/>
              <a:gd name="connsiteY19" fmla="*/ 7364 h 10000"/>
              <a:gd name="connsiteX20" fmla="*/ 5517 w 10000"/>
              <a:gd name="connsiteY20" fmla="*/ 6669 h 10000"/>
              <a:gd name="connsiteX21" fmla="*/ 6364 w 10000"/>
              <a:gd name="connsiteY21" fmla="*/ 5725 h 10000"/>
              <a:gd name="connsiteX22" fmla="*/ 7080 w 10000"/>
              <a:gd name="connsiteY22" fmla="*/ 4657 h 10000"/>
              <a:gd name="connsiteX23" fmla="*/ 7524 w 10000"/>
              <a:gd name="connsiteY23" fmla="*/ 3738 h 10000"/>
              <a:gd name="connsiteX24" fmla="*/ 7864 w 10000"/>
              <a:gd name="connsiteY24" fmla="*/ 2881 h 10000"/>
              <a:gd name="connsiteX25" fmla="*/ 7081 w 10000"/>
              <a:gd name="connsiteY25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2815 w 10000"/>
              <a:gd name="connsiteY10" fmla="*/ 9616 h 10000"/>
              <a:gd name="connsiteX11" fmla="*/ 1663 w 10000"/>
              <a:gd name="connsiteY11" fmla="*/ 9823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009 w 10000"/>
              <a:gd name="connsiteY17" fmla="*/ 8780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2815 w 10000"/>
              <a:gd name="connsiteY10" fmla="*/ 9616 h 10000"/>
              <a:gd name="connsiteX11" fmla="*/ 1663 w 10000"/>
              <a:gd name="connsiteY11" fmla="*/ 9823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009 w 10000"/>
              <a:gd name="connsiteY17" fmla="*/ 8780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134 w 10000"/>
              <a:gd name="connsiteY3" fmla="*/ 4040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2815 w 10000"/>
              <a:gd name="connsiteY10" fmla="*/ 9616 h 10000"/>
              <a:gd name="connsiteX11" fmla="*/ 1663 w 10000"/>
              <a:gd name="connsiteY11" fmla="*/ 9823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009 w 10000"/>
              <a:gd name="connsiteY17" fmla="*/ 8780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2815 w 10000"/>
              <a:gd name="connsiteY10" fmla="*/ 9616 h 10000"/>
              <a:gd name="connsiteX11" fmla="*/ 1663 w 10000"/>
              <a:gd name="connsiteY11" fmla="*/ 9823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009 w 10000"/>
              <a:gd name="connsiteY17" fmla="*/ 8780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2815 w 10000"/>
              <a:gd name="connsiteY10" fmla="*/ 9616 h 10000"/>
              <a:gd name="connsiteX11" fmla="*/ 1663 w 10000"/>
              <a:gd name="connsiteY11" fmla="*/ 9823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219 w 10000"/>
              <a:gd name="connsiteY17" fmla="*/ 8705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2815 w 10000"/>
              <a:gd name="connsiteY10" fmla="*/ 9616 h 10000"/>
              <a:gd name="connsiteX11" fmla="*/ 1823 w 10000"/>
              <a:gd name="connsiteY11" fmla="*/ 9848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219 w 10000"/>
              <a:gd name="connsiteY17" fmla="*/ 8705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062 w 10000"/>
              <a:gd name="connsiteY10" fmla="*/ 9666 h 10000"/>
              <a:gd name="connsiteX11" fmla="*/ 1823 w 10000"/>
              <a:gd name="connsiteY11" fmla="*/ 9848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219 w 10000"/>
              <a:gd name="connsiteY17" fmla="*/ 8705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062 w 10000"/>
              <a:gd name="connsiteY10" fmla="*/ 9666 h 10000"/>
              <a:gd name="connsiteX11" fmla="*/ 1823 w 10000"/>
              <a:gd name="connsiteY11" fmla="*/ 9848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219 w 10000"/>
              <a:gd name="connsiteY17" fmla="*/ 8705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062 w 10000"/>
              <a:gd name="connsiteY10" fmla="*/ 9666 h 10000"/>
              <a:gd name="connsiteX11" fmla="*/ 1823 w 10000"/>
              <a:gd name="connsiteY11" fmla="*/ 9848 h 10000"/>
              <a:gd name="connsiteX12" fmla="*/ 775 w 10000"/>
              <a:gd name="connsiteY12" fmla="*/ 9973 h 10000"/>
              <a:gd name="connsiteX13" fmla="*/ 7 w 10000"/>
              <a:gd name="connsiteY13" fmla="*/ 10000 h 10000"/>
              <a:gd name="connsiteX14" fmla="*/ 0 w 10000"/>
              <a:gd name="connsiteY14" fmla="*/ 9342 h 10000"/>
              <a:gd name="connsiteX15" fmla="*/ 628 w 10000"/>
              <a:gd name="connsiteY15" fmla="*/ 9153 h 10000"/>
              <a:gd name="connsiteX16" fmla="*/ 1245 w 10000"/>
              <a:gd name="connsiteY16" fmla="*/ 8978 h 10000"/>
              <a:gd name="connsiteX17" fmla="*/ 2219 w 10000"/>
              <a:gd name="connsiteY17" fmla="*/ 8705 h 10000"/>
              <a:gd name="connsiteX18" fmla="*/ 2835 w 10000"/>
              <a:gd name="connsiteY18" fmla="*/ 8482 h 10000"/>
              <a:gd name="connsiteX19" fmla="*/ 3827 w 10000"/>
              <a:gd name="connsiteY19" fmla="*/ 7944 h 10000"/>
              <a:gd name="connsiteX20" fmla="*/ 4698 w 10000"/>
              <a:gd name="connsiteY20" fmla="*/ 7364 h 10000"/>
              <a:gd name="connsiteX21" fmla="*/ 5517 w 10000"/>
              <a:gd name="connsiteY21" fmla="*/ 6669 h 10000"/>
              <a:gd name="connsiteX22" fmla="*/ 6364 w 10000"/>
              <a:gd name="connsiteY22" fmla="*/ 5725 h 10000"/>
              <a:gd name="connsiteX23" fmla="*/ 7080 w 10000"/>
              <a:gd name="connsiteY23" fmla="*/ 4657 h 10000"/>
              <a:gd name="connsiteX24" fmla="*/ 7524 w 10000"/>
              <a:gd name="connsiteY24" fmla="*/ 3738 h 10000"/>
              <a:gd name="connsiteX25" fmla="*/ 7864 w 10000"/>
              <a:gd name="connsiteY25" fmla="*/ 2881 h 10000"/>
              <a:gd name="connsiteX26" fmla="*/ 7081 w 10000"/>
              <a:gd name="connsiteY26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062 w 10000"/>
              <a:gd name="connsiteY10" fmla="*/ 9666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506 w 10000"/>
              <a:gd name="connsiteY10" fmla="*/ 9591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506 w 10000"/>
              <a:gd name="connsiteY10" fmla="*/ 9591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370 w 10000"/>
              <a:gd name="connsiteY10" fmla="*/ 9616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370 w 10000"/>
              <a:gd name="connsiteY10" fmla="*/ 9616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370 w 10000"/>
              <a:gd name="connsiteY10" fmla="*/ 9616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370 w 10000"/>
              <a:gd name="connsiteY10" fmla="*/ 9616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370 w 10000"/>
              <a:gd name="connsiteY10" fmla="*/ 9616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370 w 10000"/>
              <a:gd name="connsiteY10" fmla="*/ 9616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081 w 10000"/>
              <a:gd name="connsiteY9" fmla="*/ 930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2219 w 10000"/>
              <a:gd name="connsiteY18" fmla="*/ 8705 h 10000"/>
              <a:gd name="connsiteX19" fmla="*/ 2835 w 10000"/>
              <a:gd name="connsiteY19" fmla="*/ 8482 h 10000"/>
              <a:gd name="connsiteX20" fmla="*/ 3827 w 10000"/>
              <a:gd name="connsiteY20" fmla="*/ 7944 h 10000"/>
              <a:gd name="connsiteX21" fmla="*/ 4698 w 10000"/>
              <a:gd name="connsiteY21" fmla="*/ 7364 h 10000"/>
              <a:gd name="connsiteX22" fmla="*/ 5517 w 10000"/>
              <a:gd name="connsiteY22" fmla="*/ 6669 h 10000"/>
              <a:gd name="connsiteX23" fmla="*/ 6364 w 10000"/>
              <a:gd name="connsiteY23" fmla="*/ 5725 h 10000"/>
              <a:gd name="connsiteX24" fmla="*/ 7080 w 10000"/>
              <a:gd name="connsiteY24" fmla="*/ 4657 h 10000"/>
              <a:gd name="connsiteX25" fmla="*/ 7524 w 10000"/>
              <a:gd name="connsiteY25" fmla="*/ 3738 h 10000"/>
              <a:gd name="connsiteX26" fmla="*/ 7864 w 10000"/>
              <a:gd name="connsiteY26" fmla="*/ 2881 h 10000"/>
              <a:gd name="connsiteX27" fmla="*/ 7081 w 10000"/>
              <a:gd name="connsiteY27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827 w 10000"/>
              <a:gd name="connsiteY21" fmla="*/ 7944 h 10000"/>
              <a:gd name="connsiteX22" fmla="*/ 4698 w 10000"/>
              <a:gd name="connsiteY22" fmla="*/ 7364 h 10000"/>
              <a:gd name="connsiteX23" fmla="*/ 5517 w 10000"/>
              <a:gd name="connsiteY23" fmla="*/ 6669 h 10000"/>
              <a:gd name="connsiteX24" fmla="*/ 6364 w 10000"/>
              <a:gd name="connsiteY24" fmla="*/ 5725 h 10000"/>
              <a:gd name="connsiteX25" fmla="*/ 7080 w 10000"/>
              <a:gd name="connsiteY25" fmla="*/ 4657 h 10000"/>
              <a:gd name="connsiteX26" fmla="*/ 7524 w 10000"/>
              <a:gd name="connsiteY26" fmla="*/ 3738 h 10000"/>
              <a:gd name="connsiteX27" fmla="*/ 7864 w 10000"/>
              <a:gd name="connsiteY27" fmla="*/ 2881 h 10000"/>
              <a:gd name="connsiteX28" fmla="*/ 7081 w 10000"/>
              <a:gd name="connsiteY28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428 w 10000"/>
              <a:gd name="connsiteY21" fmla="*/ 8110 h 10000"/>
              <a:gd name="connsiteX22" fmla="*/ 3827 w 10000"/>
              <a:gd name="connsiteY22" fmla="*/ 7944 h 10000"/>
              <a:gd name="connsiteX23" fmla="*/ 4698 w 10000"/>
              <a:gd name="connsiteY23" fmla="*/ 7364 h 10000"/>
              <a:gd name="connsiteX24" fmla="*/ 5517 w 10000"/>
              <a:gd name="connsiteY24" fmla="*/ 6669 h 10000"/>
              <a:gd name="connsiteX25" fmla="*/ 6364 w 10000"/>
              <a:gd name="connsiteY25" fmla="*/ 5725 h 10000"/>
              <a:gd name="connsiteX26" fmla="*/ 7080 w 10000"/>
              <a:gd name="connsiteY26" fmla="*/ 4657 h 10000"/>
              <a:gd name="connsiteX27" fmla="*/ 7524 w 10000"/>
              <a:gd name="connsiteY27" fmla="*/ 3738 h 10000"/>
              <a:gd name="connsiteX28" fmla="*/ 7864 w 10000"/>
              <a:gd name="connsiteY28" fmla="*/ 2881 h 10000"/>
              <a:gd name="connsiteX29" fmla="*/ 7081 w 10000"/>
              <a:gd name="connsiteY29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428 w 10000"/>
              <a:gd name="connsiteY21" fmla="*/ 8110 h 10000"/>
              <a:gd name="connsiteX22" fmla="*/ 3827 w 10000"/>
              <a:gd name="connsiteY22" fmla="*/ 7944 h 10000"/>
              <a:gd name="connsiteX23" fmla="*/ 4698 w 10000"/>
              <a:gd name="connsiteY23" fmla="*/ 7364 h 10000"/>
              <a:gd name="connsiteX24" fmla="*/ 5517 w 10000"/>
              <a:gd name="connsiteY24" fmla="*/ 6669 h 10000"/>
              <a:gd name="connsiteX25" fmla="*/ 6364 w 10000"/>
              <a:gd name="connsiteY25" fmla="*/ 5725 h 10000"/>
              <a:gd name="connsiteX26" fmla="*/ 7080 w 10000"/>
              <a:gd name="connsiteY26" fmla="*/ 4657 h 10000"/>
              <a:gd name="connsiteX27" fmla="*/ 7524 w 10000"/>
              <a:gd name="connsiteY27" fmla="*/ 3738 h 10000"/>
              <a:gd name="connsiteX28" fmla="*/ 7864 w 10000"/>
              <a:gd name="connsiteY28" fmla="*/ 2881 h 10000"/>
              <a:gd name="connsiteX29" fmla="*/ 7081 w 10000"/>
              <a:gd name="connsiteY29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453 w 10000"/>
              <a:gd name="connsiteY21" fmla="*/ 8160 h 10000"/>
              <a:gd name="connsiteX22" fmla="*/ 3827 w 10000"/>
              <a:gd name="connsiteY22" fmla="*/ 7944 h 10000"/>
              <a:gd name="connsiteX23" fmla="*/ 4698 w 10000"/>
              <a:gd name="connsiteY23" fmla="*/ 7364 h 10000"/>
              <a:gd name="connsiteX24" fmla="*/ 5517 w 10000"/>
              <a:gd name="connsiteY24" fmla="*/ 6669 h 10000"/>
              <a:gd name="connsiteX25" fmla="*/ 6364 w 10000"/>
              <a:gd name="connsiteY25" fmla="*/ 5725 h 10000"/>
              <a:gd name="connsiteX26" fmla="*/ 7080 w 10000"/>
              <a:gd name="connsiteY26" fmla="*/ 4657 h 10000"/>
              <a:gd name="connsiteX27" fmla="*/ 7524 w 10000"/>
              <a:gd name="connsiteY27" fmla="*/ 3738 h 10000"/>
              <a:gd name="connsiteX28" fmla="*/ 7864 w 10000"/>
              <a:gd name="connsiteY28" fmla="*/ 2881 h 10000"/>
              <a:gd name="connsiteX29" fmla="*/ 7081 w 10000"/>
              <a:gd name="connsiteY29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453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517 w 10000"/>
              <a:gd name="connsiteY24" fmla="*/ 6669 h 10000"/>
              <a:gd name="connsiteX25" fmla="*/ 6364 w 10000"/>
              <a:gd name="connsiteY25" fmla="*/ 5725 h 10000"/>
              <a:gd name="connsiteX26" fmla="*/ 7080 w 10000"/>
              <a:gd name="connsiteY26" fmla="*/ 4657 h 10000"/>
              <a:gd name="connsiteX27" fmla="*/ 7524 w 10000"/>
              <a:gd name="connsiteY27" fmla="*/ 3738 h 10000"/>
              <a:gd name="connsiteX28" fmla="*/ 7864 w 10000"/>
              <a:gd name="connsiteY28" fmla="*/ 2881 h 10000"/>
              <a:gd name="connsiteX29" fmla="*/ 7081 w 10000"/>
              <a:gd name="connsiteY29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453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517 w 10000"/>
              <a:gd name="connsiteY24" fmla="*/ 6669 h 10000"/>
              <a:gd name="connsiteX25" fmla="*/ 6364 w 10000"/>
              <a:gd name="connsiteY25" fmla="*/ 5725 h 10000"/>
              <a:gd name="connsiteX26" fmla="*/ 7080 w 10000"/>
              <a:gd name="connsiteY26" fmla="*/ 4657 h 10000"/>
              <a:gd name="connsiteX27" fmla="*/ 7524 w 10000"/>
              <a:gd name="connsiteY27" fmla="*/ 3738 h 10000"/>
              <a:gd name="connsiteX28" fmla="*/ 7864 w 10000"/>
              <a:gd name="connsiteY28" fmla="*/ 2881 h 10000"/>
              <a:gd name="connsiteX29" fmla="*/ 7081 w 10000"/>
              <a:gd name="connsiteY29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517 w 10000"/>
              <a:gd name="connsiteY24" fmla="*/ 6669 h 10000"/>
              <a:gd name="connsiteX25" fmla="*/ 6364 w 10000"/>
              <a:gd name="connsiteY25" fmla="*/ 5725 h 10000"/>
              <a:gd name="connsiteX26" fmla="*/ 7080 w 10000"/>
              <a:gd name="connsiteY26" fmla="*/ 4657 h 10000"/>
              <a:gd name="connsiteX27" fmla="*/ 7524 w 10000"/>
              <a:gd name="connsiteY27" fmla="*/ 3738 h 10000"/>
              <a:gd name="connsiteX28" fmla="*/ 7864 w 10000"/>
              <a:gd name="connsiteY28" fmla="*/ 2881 h 10000"/>
              <a:gd name="connsiteX29" fmla="*/ 7081 w 10000"/>
              <a:gd name="connsiteY29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6364 w 10000"/>
              <a:gd name="connsiteY26" fmla="*/ 5725 h 10000"/>
              <a:gd name="connsiteX27" fmla="*/ 7080 w 10000"/>
              <a:gd name="connsiteY27" fmla="*/ 4657 h 10000"/>
              <a:gd name="connsiteX28" fmla="*/ 7524 w 10000"/>
              <a:gd name="connsiteY28" fmla="*/ 3738 h 10000"/>
              <a:gd name="connsiteX29" fmla="*/ 7864 w 10000"/>
              <a:gd name="connsiteY29" fmla="*/ 2881 h 10000"/>
              <a:gd name="connsiteX30" fmla="*/ 7081 w 10000"/>
              <a:gd name="connsiteY30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823 w 10000"/>
              <a:gd name="connsiteY12" fmla="*/ 9848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83 w 10000"/>
              <a:gd name="connsiteY24" fmla="*/ 6940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698 w 10000"/>
              <a:gd name="connsiteY23" fmla="*/ 7364 h 10000"/>
              <a:gd name="connsiteX24" fmla="*/ 5174 w 10000"/>
              <a:gd name="connsiteY24" fmla="*/ 7105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174 w 10000"/>
              <a:gd name="connsiteY24" fmla="*/ 7105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517 w 10000"/>
              <a:gd name="connsiteY25" fmla="*/ 6669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5993 w 10000"/>
              <a:gd name="connsiteY26" fmla="*/ 6170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364 w 10000"/>
              <a:gd name="connsiteY27" fmla="*/ 5725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  <a:gd name="connsiteX0" fmla="*/ 7081 w 10000"/>
              <a:gd name="connsiteY0" fmla="*/ 2031 h 10000"/>
              <a:gd name="connsiteX1" fmla="*/ 9553 w 10000"/>
              <a:gd name="connsiteY1" fmla="*/ 0 h 10000"/>
              <a:gd name="connsiteX2" fmla="*/ 10000 w 10000"/>
              <a:gd name="connsiteY2" fmla="*/ 5057 h 10000"/>
              <a:gd name="connsiteX3" fmla="*/ 9085 w 10000"/>
              <a:gd name="connsiteY3" fmla="*/ 4065 h 10000"/>
              <a:gd name="connsiteX4" fmla="*/ 8572 w 10000"/>
              <a:gd name="connsiteY4" fmla="*/ 5179 h 10000"/>
              <a:gd name="connsiteX5" fmla="*/ 7981 w 10000"/>
              <a:gd name="connsiteY5" fmla="*/ 6272 h 10000"/>
              <a:gd name="connsiteX6" fmla="*/ 7277 w 10000"/>
              <a:gd name="connsiteY6" fmla="*/ 7141 h 10000"/>
              <a:gd name="connsiteX7" fmla="*/ 6525 w 10000"/>
              <a:gd name="connsiteY7" fmla="*/ 7886 h 10000"/>
              <a:gd name="connsiteX8" fmla="*/ 5075 w 10000"/>
              <a:gd name="connsiteY8" fmla="*/ 8867 h 10000"/>
              <a:gd name="connsiteX9" fmla="*/ 4180 w 10000"/>
              <a:gd name="connsiteY9" fmla="*/ 9253 h 10000"/>
              <a:gd name="connsiteX10" fmla="*/ 3506 w 10000"/>
              <a:gd name="connsiteY10" fmla="*/ 9517 h 10000"/>
              <a:gd name="connsiteX11" fmla="*/ 2589 w 10000"/>
              <a:gd name="connsiteY11" fmla="*/ 9774 h 10000"/>
              <a:gd name="connsiteX12" fmla="*/ 1750 w 10000"/>
              <a:gd name="connsiteY12" fmla="*/ 9885 h 10000"/>
              <a:gd name="connsiteX13" fmla="*/ 775 w 10000"/>
              <a:gd name="connsiteY13" fmla="*/ 9973 h 10000"/>
              <a:gd name="connsiteX14" fmla="*/ 7 w 10000"/>
              <a:gd name="connsiteY14" fmla="*/ 10000 h 10000"/>
              <a:gd name="connsiteX15" fmla="*/ 0 w 10000"/>
              <a:gd name="connsiteY15" fmla="*/ 9342 h 10000"/>
              <a:gd name="connsiteX16" fmla="*/ 628 w 10000"/>
              <a:gd name="connsiteY16" fmla="*/ 9153 h 10000"/>
              <a:gd name="connsiteX17" fmla="*/ 1245 w 10000"/>
              <a:gd name="connsiteY17" fmla="*/ 8978 h 10000"/>
              <a:gd name="connsiteX18" fmla="*/ 1762 w 10000"/>
              <a:gd name="connsiteY18" fmla="*/ 8830 h 10000"/>
              <a:gd name="connsiteX19" fmla="*/ 2219 w 10000"/>
              <a:gd name="connsiteY19" fmla="*/ 8705 h 10000"/>
              <a:gd name="connsiteX20" fmla="*/ 2835 w 10000"/>
              <a:gd name="connsiteY20" fmla="*/ 8482 h 10000"/>
              <a:gd name="connsiteX21" fmla="*/ 3515 w 10000"/>
              <a:gd name="connsiteY21" fmla="*/ 8160 h 10000"/>
              <a:gd name="connsiteX22" fmla="*/ 4037 w 10000"/>
              <a:gd name="connsiteY22" fmla="*/ 7869 h 10000"/>
              <a:gd name="connsiteX23" fmla="*/ 4734 w 10000"/>
              <a:gd name="connsiteY23" fmla="*/ 7419 h 10000"/>
              <a:gd name="connsiteX24" fmla="*/ 5201 w 10000"/>
              <a:gd name="connsiteY24" fmla="*/ 7032 h 10000"/>
              <a:gd name="connsiteX25" fmla="*/ 5663 w 10000"/>
              <a:gd name="connsiteY25" fmla="*/ 6614 h 10000"/>
              <a:gd name="connsiteX26" fmla="*/ 6111 w 10000"/>
              <a:gd name="connsiteY26" fmla="*/ 6097 h 10000"/>
              <a:gd name="connsiteX27" fmla="*/ 6628 w 10000"/>
              <a:gd name="connsiteY27" fmla="*/ 5432 h 10000"/>
              <a:gd name="connsiteX28" fmla="*/ 7080 w 10000"/>
              <a:gd name="connsiteY28" fmla="*/ 4657 h 10000"/>
              <a:gd name="connsiteX29" fmla="*/ 7524 w 10000"/>
              <a:gd name="connsiteY29" fmla="*/ 3738 h 10000"/>
              <a:gd name="connsiteX30" fmla="*/ 7864 w 10000"/>
              <a:gd name="connsiteY30" fmla="*/ 2881 h 10000"/>
              <a:gd name="connsiteX31" fmla="*/ 7081 w 10000"/>
              <a:gd name="connsiteY31" fmla="*/ 203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000" h="10000">
                <a:moveTo>
                  <a:pt x="7081" y="2031"/>
                </a:moveTo>
                <a:lnTo>
                  <a:pt x="9553" y="0"/>
                </a:lnTo>
                <a:lnTo>
                  <a:pt x="10000" y="5057"/>
                </a:lnTo>
                <a:lnTo>
                  <a:pt x="9085" y="4065"/>
                </a:lnTo>
                <a:lnTo>
                  <a:pt x="8572" y="5179"/>
                </a:lnTo>
                <a:cubicBezTo>
                  <a:pt x="8388" y="5547"/>
                  <a:pt x="8197" y="5945"/>
                  <a:pt x="7981" y="6272"/>
                </a:cubicBezTo>
                <a:cubicBezTo>
                  <a:pt x="7765" y="6599"/>
                  <a:pt x="7520" y="6872"/>
                  <a:pt x="7277" y="7141"/>
                </a:cubicBezTo>
                <a:lnTo>
                  <a:pt x="6525" y="7886"/>
                </a:lnTo>
                <a:lnTo>
                  <a:pt x="5075" y="8867"/>
                </a:lnTo>
                <a:lnTo>
                  <a:pt x="4180" y="9253"/>
                </a:lnTo>
                <a:lnTo>
                  <a:pt x="3506" y="9517"/>
                </a:lnTo>
                <a:lnTo>
                  <a:pt x="2589" y="9774"/>
                </a:lnTo>
                <a:lnTo>
                  <a:pt x="1750" y="9885"/>
                </a:lnTo>
                <a:lnTo>
                  <a:pt x="775" y="9973"/>
                </a:lnTo>
                <a:lnTo>
                  <a:pt x="7" y="10000"/>
                </a:lnTo>
                <a:cubicBezTo>
                  <a:pt x="5" y="9781"/>
                  <a:pt x="2" y="9562"/>
                  <a:pt x="0" y="9342"/>
                </a:cubicBezTo>
                <a:lnTo>
                  <a:pt x="628" y="9153"/>
                </a:lnTo>
                <a:lnTo>
                  <a:pt x="1245" y="8978"/>
                </a:lnTo>
                <a:lnTo>
                  <a:pt x="1762" y="8830"/>
                </a:lnTo>
                <a:lnTo>
                  <a:pt x="2219" y="8705"/>
                </a:lnTo>
                <a:lnTo>
                  <a:pt x="2835" y="8482"/>
                </a:lnTo>
                <a:lnTo>
                  <a:pt x="3515" y="8160"/>
                </a:lnTo>
                <a:lnTo>
                  <a:pt x="4037" y="7869"/>
                </a:lnTo>
                <a:lnTo>
                  <a:pt x="4734" y="7419"/>
                </a:lnTo>
                <a:lnTo>
                  <a:pt x="5201" y="7032"/>
                </a:lnTo>
                <a:lnTo>
                  <a:pt x="5663" y="6614"/>
                </a:lnTo>
                <a:lnTo>
                  <a:pt x="6111" y="6097"/>
                </a:lnTo>
                <a:lnTo>
                  <a:pt x="6628" y="5432"/>
                </a:lnTo>
                <a:lnTo>
                  <a:pt x="7080" y="4657"/>
                </a:lnTo>
                <a:lnTo>
                  <a:pt x="7524" y="3738"/>
                </a:lnTo>
                <a:cubicBezTo>
                  <a:pt x="7637" y="3452"/>
                  <a:pt x="7751" y="3167"/>
                  <a:pt x="7864" y="2881"/>
                </a:cubicBezTo>
                <a:lnTo>
                  <a:pt x="7081" y="2031"/>
                </a:lnTo>
                <a:close/>
              </a:path>
            </a:pathLst>
          </a:custGeom>
          <a:gradFill>
            <a:gsLst>
              <a:gs pos="0">
                <a:schemeClr val="accent3">
                  <a:lumMod val="50000"/>
                </a:schemeClr>
              </a:gs>
              <a:gs pos="50000">
                <a:schemeClr val="accent3">
                  <a:lumMod val="75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5400000" scaled="1"/>
          </a:gradFill>
          <a:ln w="508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bevelB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Bef>
                <a:spcPct val="20000"/>
              </a:spcBef>
              <a:buClr>
                <a:srgbClr val="F4BF17"/>
              </a:buClr>
              <a:buSzPct val="40000"/>
            </a:pPr>
            <a:endParaRPr lang="it-IT" sz="1200" smtClean="0">
              <a:solidFill>
                <a:srgbClr val="FF3300"/>
              </a:solidFill>
            </a:endParaRPr>
          </a:p>
        </p:txBody>
      </p:sp>
      <p:grpSp>
        <p:nvGrpSpPr>
          <p:cNvPr id="113" name="Group 112"/>
          <p:cNvGrpSpPr/>
          <p:nvPr/>
        </p:nvGrpSpPr>
        <p:grpSpPr>
          <a:xfrm>
            <a:off x="1476514" y="4006150"/>
            <a:ext cx="1411793" cy="1014545"/>
            <a:chOff x="1180215" y="3694419"/>
            <a:chExt cx="1224000" cy="900000"/>
          </a:xfrm>
        </p:grpSpPr>
        <p:pic>
          <p:nvPicPr>
            <p:cNvPr id="109" name="Picture 2" descr="C:\Users\groda\Pictures\Microsoft Clip Organizer\Ciak2.jpg"/>
            <p:cNvPicPr preferRelativeResize="0">
              <a:picLocks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1180215" y="3694419"/>
              <a:ext cx="1224000" cy="9000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93" name="Text Box 56"/>
            <p:cNvSpPr txBox="1">
              <a:spLocks noChangeArrowheads="1"/>
            </p:cNvSpPr>
            <p:nvPr/>
          </p:nvSpPr>
          <p:spPr bwMode="auto">
            <a:xfrm>
              <a:off x="1245371" y="4252045"/>
              <a:ext cx="563374" cy="275172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1400" b="1" dirty="0" err="1" smtClean="0">
                  <a:solidFill>
                    <a:srgbClr val="FF3300"/>
                  </a:solidFill>
                  <a:latin typeface="Interstate-Light" pitchFamily="2" charset="0"/>
                </a:rPr>
                <a:t>xDSL</a:t>
              </a:r>
              <a:endParaRPr lang="en-US" sz="1400" b="1" dirty="0">
                <a:solidFill>
                  <a:srgbClr val="FF3300"/>
                </a:solidFill>
                <a:latin typeface="Interstate-Light" pitchFamily="2" charset="0"/>
              </a:endParaRPr>
            </a:p>
          </p:txBody>
        </p:sp>
      </p:grpSp>
      <p:grpSp>
        <p:nvGrpSpPr>
          <p:cNvPr id="112" name="Group 111"/>
          <p:cNvGrpSpPr/>
          <p:nvPr/>
        </p:nvGrpSpPr>
        <p:grpSpPr>
          <a:xfrm>
            <a:off x="7537388" y="822684"/>
            <a:ext cx="1411793" cy="1014545"/>
            <a:chOff x="2857345" y="2187353"/>
            <a:chExt cx="1224000" cy="900000"/>
          </a:xfrm>
        </p:grpSpPr>
        <p:pic>
          <p:nvPicPr>
            <p:cNvPr id="110" name="Picture 2" descr="C:\Users\groda\Pictures\Microsoft Clip Organizer\Ciak2.jpg"/>
            <p:cNvPicPr preferRelativeResize="0">
              <a:picLocks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2857345" y="2187353"/>
              <a:ext cx="1224000" cy="9000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111" name="Text Box 56"/>
            <p:cNvSpPr txBox="1">
              <a:spLocks noChangeArrowheads="1"/>
            </p:cNvSpPr>
            <p:nvPr/>
          </p:nvSpPr>
          <p:spPr bwMode="auto">
            <a:xfrm>
              <a:off x="2918274" y="2743764"/>
              <a:ext cx="951785" cy="275172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 lIns="0" anchor="ctr" anchorCtr="0">
              <a:noAutofit/>
            </a:bodyPr>
            <a:lstStyle/>
            <a:p>
              <a:pPr marL="228600" indent="-228600">
                <a:buNone/>
              </a:pPr>
              <a:r>
                <a:rPr lang="en-US" sz="1400" b="1" dirty="0" smtClean="0">
                  <a:solidFill>
                    <a:srgbClr val="FF3300"/>
                  </a:solidFill>
                  <a:latin typeface="Interstate-Light" pitchFamily="2" charset="0"/>
                </a:rPr>
                <a:t>FTTH/FTTB</a:t>
              </a:r>
              <a:endParaRPr lang="en-US" sz="1400" b="1" dirty="0">
                <a:solidFill>
                  <a:srgbClr val="FF3300"/>
                </a:solidFill>
                <a:latin typeface="Interstate-Light" pitchFamily="2" charset="0"/>
              </a:endParaRPr>
            </a:p>
          </p:txBody>
        </p:sp>
      </p:grpSp>
      <p:sp>
        <p:nvSpPr>
          <p:cNvPr id="102" name="Text Box 37"/>
          <p:cNvSpPr>
            <a:spLocks noChangeArrowheads="1"/>
          </p:cNvSpPr>
          <p:nvPr/>
        </p:nvSpPr>
        <p:spPr bwMode="gray">
          <a:xfrm>
            <a:off x="1619537" y="1231207"/>
            <a:ext cx="3884795" cy="2181412"/>
          </a:xfrm>
          <a:prstGeom prst="roundRect">
            <a:avLst>
              <a:gd name="adj" fmla="val 3004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marL="132137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1600" b="1" spc="150" dirty="0" smtClean="0">
                <a:ln w="11430"/>
                <a:solidFill>
                  <a:srgbClr val="FF0000"/>
                </a:solidFill>
                <a:latin typeface="Interstate-Light" pitchFamily="2" charset="0"/>
              </a:rPr>
              <a:t>Punti di Attenzione</a:t>
            </a:r>
          </a:p>
          <a:p>
            <a:pPr marL="132137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Modello di Business</a:t>
            </a:r>
          </a:p>
          <a:p>
            <a:pPr marL="132137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Apertura</a:t>
            </a:r>
          </a:p>
          <a:p>
            <a:pPr marL="132137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Topologia</a:t>
            </a:r>
          </a:p>
          <a:p>
            <a:pPr marL="132137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Indipendenza tecnologica</a:t>
            </a:r>
          </a:p>
          <a:p>
            <a:pPr marL="132137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Unicità/molteplicità</a:t>
            </a:r>
          </a:p>
          <a:p>
            <a:pPr marL="132137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Processo di migrazione</a:t>
            </a:r>
            <a:endParaRPr lang="it-IT" sz="1600" b="1" spc="150" dirty="0">
              <a:ln w="11430"/>
              <a:solidFill>
                <a:schemeClr val="tx1"/>
              </a:solidFill>
              <a:latin typeface="Interstate-Light" pitchFamily="2" charset="0"/>
            </a:endParaRPr>
          </a:p>
        </p:txBody>
      </p:sp>
      <p:sp>
        <p:nvSpPr>
          <p:cNvPr id="120" name="Left-Right Arrow 119"/>
          <p:cNvSpPr/>
          <p:nvPr/>
        </p:nvSpPr>
        <p:spPr>
          <a:xfrm>
            <a:off x="2976281" y="4370379"/>
            <a:ext cx="5047131" cy="677080"/>
          </a:xfrm>
          <a:prstGeom prst="leftRight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TRANSIZIONE</a:t>
            </a:r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102" grpId="0" animBg="1"/>
      <p:bldP spid="12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groda\Pictures\Logos\logo_FW_colori.gif"/>
          <p:cNvPicPr preferRelativeResize="0"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2521" y="2495985"/>
            <a:ext cx="7555706" cy="1754981"/>
          </a:xfrm>
          <a:prstGeom prst="rect">
            <a:avLst/>
          </a:prstGeom>
          <a:noFill/>
        </p:spPr>
      </p:pic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A5B7726-58C9-4BC9-8B3B-6B1EDA4967C6}" type="slidenum">
              <a:rPr lang="it-IT" smtClean="0"/>
              <a:pPr>
                <a:defRPr/>
              </a:pPr>
              <a:t>14</a:t>
            </a:fld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fld id="{610E44BF-EEFE-406A-A31C-D8495EE30FA8}" type="slidenum">
              <a:rPr lang="it-IT" smtClean="0"/>
              <a:pPr/>
              <a:t>2</a:t>
            </a:fld>
            <a:endParaRPr lang="it-IT" smtClean="0"/>
          </a:p>
        </p:txBody>
      </p:sp>
      <p:pic>
        <p:nvPicPr>
          <p:cNvPr id="50" name="Picture Placeholder 49" descr="Astronomia05.jpg"/>
          <p:cNvPicPr>
            <a:picLocks noGrp="1" noChangeAspect="1"/>
          </p:cNvPicPr>
          <p:nvPr>
            <p:ph type="pic" idx="1"/>
          </p:nvPr>
        </p:nvPicPr>
        <p:blipFill>
          <a:blip r:embed="rId15" cstate="print"/>
          <a:srcRect t="3251" b="3251"/>
          <a:stretch>
            <a:fillRect/>
          </a:stretch>
        </p:blipFill>
        <p:spPr/>
      </p:pic>
      <p:sp>
        <p:nvSpPr>
          <p:cNvPr id="20512" name="Rectangle 3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L’avvento della Zettabyte era</a:t>
            </a:r>
          </a:p>
        </p:txBody>
      </p:sp>
      <p:sp>
        <p:nvSpPr>
          <p:cNvPr id="20484" name="Rectangle 6"/>
          <p:cNvSpPr>
            <a:spLocks noChangeArrowheads="1"/>
          </p:cNvSpPr>
          <p:nvPr/>
        </p:nvSpPr>
        <p:spPr bwMode="auto">
          <a:xfrm>
            <a:off x="514329" y="1056905"/>
            <a:ext cx="4342340" cy="21494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marL="184758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>
                <a:ln w="11430"/>
                <a:solidFill>
                  <a:schemeClr val="tx1"/>
                </a:solidFill>
                <a:latin typeface="Interstate-Light" pitchFamily="2" charset="0"/>
              </a:rPr>
              <a:t>Prevista crescita del 400% del  traffico nel core nei prossimi 3 anni</a:t>
            </a:r>
          </a:p>
          <a:p>
            <a:pPr marL="184758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Driver</a:t>
            </a:r>
            <a:endParaRPr lang="it-IT" sz="1600" b="1" spc="150" dirty="0">
              <a:ln w="11430"/>
              <a:solidFill>
                <a:schemeClr val="tx1"/>
              </a:solidFill>
              <a:latin typeface="Interstate-Light" pitchFamily="2" charset="0"/>
            </a:endParaRPr>
          </a:p>
          <a:p>
            <a:pPr marL="521531" lvl="2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>
                <a:ln w="11430"/>
                <a:solidFill>
                  <a:schemeClr val="tx1"/>
                </a:solidFill>
                <a:latin typeface="Interstate-Light" pitchFamily="2" charset="0"/>
              </a:rPr>
              <a:t>Video IP High-Definition</a:t>
            </a:r>
          </a:p>
          <a:p>
            <a:pPr marL="521531" lvl="2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>
                <a:ln w="11430"/>
                <a:solidFill>
                  <a:schemeClr val="tx1"/>
                </a:solidFill>
                <a:latin typeface="Interstate-Light" pitchFamily="2" charset="0"/>
              </a:rPr>
              <a:t>Web 2.0 e SaaS</a:t>
            </a:r>
          </a:p>
          <a:p>
            <a:pPr marL="521531" lvl="2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>
                <a:ln w="11430"/>
                <a:solidFill>
                  <a:schemeClr val="tx1"/>
                </a:solidFill>
                <a:latin typeface="Interstate-Light" pitchFamily="2" charset="0"/>
              </a:rPr>
              <a:t>Rich Media Social Networking</a:t>
            </a:r>
          </a:p>
          <a:p>
            <a:pPr marL="521531" lvl="2" indent="-184758" defTabSz="912095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>
                <a:ln w="11430"/>
                <a:solidFill>
                  <a:schemeClr val="tx1"/>
                </a:solidFill>
                <a:latin typeface="Interstate-Light" pitchFamily="2" charset="0"/>
              </a:rPr>
              <a:t>Traffico P2P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5253487" y="3053754"/>
            <a:ext cx="4175184" cy="2907103"/>
            <a:chOff x="5331125" y="3105510"/>
            <a:chExt cx="4175184" cy="2907103"/>
          </a:xfrm>
        </p:grpSpPr>
        <p:sp>
          <p:nvSpPr>
            <p:cNvPr id="47" name="Rectangle 10"/>
            <p:cNvSpPr>
              <a:spLocks noChangeArrowheads="1"/>
            </p:cNvSpPr>
            <p:nvPr/>
          </p:nvSpPr>
          <p:spPr bwMode="gray">
            <a:xfrm>
              <a:off x="5331125" y="3105510"/>
              <a:ext cx="4175184" cy="2907103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buClr>
                  <a:srgbClr val="F4BF17"/>
                </a:buClr>
                <a:buSzPct val="40000"/>
                <a:defRPr/>
              </a:pPr>
              <a:endParaRPr lang="it-IT" sz="1400" dirty="0">
                <a:latin typeface="Interstate-Light" pitchFamily="2" charset="0"/>
              </a:endParaRPr>
            </a:p>
          </p:txBody>
        </p:sp>
        <p:sp>
          <p:nvSpPr>
            <p:cNvPr id="20500" name="Line 7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gray">
            <a:xfrm>
              <a:off x="5441896" y="3202850"/>
              <a:ext cx="0" cy="267628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 type="triangle" w="med" len="med"/>
              <a:tailEnd/>
            </a:ln>
          </p:spPr>
          <p:txBody>
            <a:bodyPr>
              <a:noAutofit/>
            </a:bodyPr>
            <a:lstStyle/>
            <a:p>
              <a:endParaRPr lang="it-IT"/>
            </a:p>
          </p:txBody>
        </p:sp>
        <p:sp>
          <p:nvSpPr>
            <p:cNvPr id="20501" name="Line 8"/>
            <p:cNvSpPr>
              <a:spLocks noChangeShapeType="1"/>
            </p:cNvSpPr>
            <p:nvPr/>
          </p:nvSpPr>
          <p:spPr bwMode="gray">
            <a:xfrm>
              <a:off x="5441896" y="5879130"/>
              <a:ext cx="3920011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 type="none" w="med" len="med"/>
              <a:tailEnd type="triangle"/>
            </a:ln>
          </p:spPr>
          <p:txBody>
            <a:bodyPr>
              <a:noAutofit/>
            </a:bodyPr>
            <a:lstStyle/>
            <a:p>
              <a:endParaRPr lang="it-IT"/>
            </a:p>
          </p:txBody>
        </p:sp>
        <p:sp>
          <p:nvSpPr>
            <p:cNvPr id="20488" name="Freeform 9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5453011" y="4699726"/>
              <a:ext cx="3578657" cy="1184167"/>
            </a:xfrm>
            <a:custGeom>
              <a:avLst/>
              <a:gdLst>
                <a:gd name="T0" fmla="*/ 0 w 2148"/>
                <a:gd name="T1" fmla="*/ 2147483647 h 672"/>
                <a:gd name="T2" fmla="*/ 2147483647 w 2148"/>
                <a:gd name="T3" fmla="*/ 2147483647 h 672"/>
                <a:gd name="T4" fmla="*/ 2147483647 w 2148"/>
                <a:gd name="T5" fmla="*/ 2147483647 h 672"/>
                <a:gd name="T6" fmla="*/ 2147483647 w 2148"/>
                <a:gd name="T7" fmla="*/ 0 h 67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48"/>
                <a:gd name="T13" fmla="*/ 0 h 672"/>
                <a:gd name="T14" fmla="*/ 2148 w 2148"/>
                <a:gd name="T15" fmla="*/ 672 h 67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48" h="672">
                  <a:moveTo>
                    <a:pt x="0" y="672"/>
                  </a:moveTo>
                  <a:cubicBezTo>
                    <a:pt x="115" y="600"/>
                    <a:pt x="455" y="338"/>
                    <a:pt x="690" y="240"/>
                  </a:cubicBezTo>
                  <a:cubicBezTo>
                    <a:pt x="925" y="142"/>
                    <a:pt x="1167" y="124"/>
                    <a:pt x="1410" y="84"/>
                  </a:cubicBezTo>
                  <a:cubicBezTo>
                    <a:pt x="1653" y="44"/>
                    <a:pt x="1994" y="18"/>
                    <a:pt x="2148" y="0"/>
                  </a:cubicBezTo>
                </a:path>
              </a:pathLst>
            </a:custGeom>
            <a:noFill/>
            <a:ln w="19050">
              <a:solidFill>
                <a:srgbClr val="0080B3"/>
              </a:solidFill>
              <a:round/>
              <a:headEnd/>
              <a:tailEnd/>
            </a:ln>
          </p:spPr>
          <p:txBody>
            <a:bodyPr lIns="124130" tIns="62065" rIns="124130" bIns="62065">
              <a:noAutofit/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</a:pPr>
              <a:endParaRPr lang="it-IT"/>
            </a:p>
          </p:txBody>
        </p:sp>
        <p:sp>
          <p:nvSpPr>
            <p:cNvPr id="20489" name="Freeform 10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5473651" y="3306029"/>
              <a:ext cx="1959212" cy="2579451"/>
            </a:xfrm>
            <a:custGeom>
              <a:avLst/>
              <a:gdLst>
                <a:gd name="T0" fmla="*/ 0 w 1206"/>
                <a:gd name="T1" fmla="*/ 2147483647 h 1452"/>
                <a:gd name="T2" fmla="*/ 2147483647 w 1206"/>
                <a:gd name="T3" fmla="*/ 2147483647 h 1452"/>
                <a:gd name="T4" fmla="*/ 2147483647 w 1206"/>
                <a:gd name="T5" fmla="*/ 2147483647 h 1452"/>
                <a:gd name="T6" fmla="*/ 2147483647 w 1206"/>
                <a:gd name="T7" fmla="*/ 0 h 14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06"/>
                <a:gd name="T13" fmla="*/ 0 h 1452"/>
                <a:gd name="T14" fmla="*/ 1206 w 1206"/>
                <a:gd name="T15" fmla="*/ 1452 h 14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06" h="1452">
                  <a:moveTo>
                    <a:pt x="0" y="1452"/>
                  </a:moveTo>
                  <a:cubicBezTo>
                    <a:pt x="104" y="1382"/>
                    <a:pt x="456" y="1180"/>
                    <a:pt x="624" y="1032"/>
                  </a:cubicBezTo>
                  <a:cubicBezTo>
                    <a:pt x="792" y="884"/>
                    <a:pt x="911" y="736"/>
                    <a:pt x="1008" y="564"/>
                  </a:cubicBezTo>
                  <a:cubicBezTo>
                    <a:pt x="1105" y="392"/>
                    <a:pt x="1165" y="117"/>
                    <a:pt x="1206" y="0"/>
                  </a:cubicBezTo>
                </a:path>
              </a:pathLst>
            </a:custGeom>
            <a:noFill/>
            <a:ln w="19050">
              <a:solidFill>
                <a:srgbClr val="699419"/>
              </a:solidFill>
              <a:round/>
              <a:headEnd/>
              <a:tailEnd/>
            </a:ln>
          </p:spPr>
          <p:txBody>
            <a:bodyPr lIns="124130" tIns="62065" rIns="124130" bIns="62065">
              <a:noAutofit/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</a:pPr>
              <a:endParaRPr lang="it-IT"/>
            </a:p>
          </p:txBody>
        </p:sp>
        <p:sp>
          <p:nvSpPr>
            <p:cNvPr id="20490" name="Freeform 11" descr="Wide downward diagonal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6743803" y="3367934"/>
              <a:ext cx="2229119" cy="1612752"/>
            </a:xfrm>
            <a:custGeom>
              <a:avLst/>
              <a:gdLst>
                <a:gd name="T0" fmla="*/ 0 w 1284"/>
                <a:gd name="T1" fmla="*/ 2147483647 h 858"/>
                <a:gd name="T2" fmla="*/ 2147483647 w 1284"/>
                <a:gd name="T3" fmla="*/ 2147483647 h 858"/>
                <a:gd name="T4" fmla="*/ 2147483647 w 1284"/>
                <a:gd name="T5" fmla="*/ 0 h 858"/>
                <a:gd name="T6" fmla="*/ 2147483647 w 1284"/>
                <a:gd name="T7" fmla="*/ 2147483647 h 858"/>
                <a:gd name="T8" fmla="*/ 2147483647 w 1284"/>
                <a:gd name="T9" fmla="*/ 2147483647 h 858"/>
                <a:gd name="T10" fmla="*/ 0 w 1284"/>
                <a:gd name="T11" fmla="*/ 2147483647 h 8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84"/>
                <a:gd name="T19" fmla="*/ 0 h 858"/>
                <a:gd name="T20" fmla="*/ 1284 w 1284"/>
                <a:gd name="T21" fmla="*/ 858 h 8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84" h="858">
                  <a:moveTo>
                    <a:pt x="0" y="858"/>
                  </a:moveTo>
                  <a:cubicBezTo>
                    <a:pt x="66" y="768"/>
                    <a:pt x="208" y="581"/>
                    <a:pt x="276" y="438"/>
                  </a:cubicBezTo>
                  <a:cubicBezTo>
                    <a:pt x="344" y="295"/>
                    <a:pt x="390" y="66"/>
                    <a:pt x="408" y="0"/>
                  </a:cubicBezTo>
                  <a:cubicBezTo>
                    <a:pt x="846" y="354"/>
                    <a:pt x="1284" y="708"/>
                    <a:pt x="1284" y="708"/>
                  </a:cubicBezTo>
                  <a:cubicBezTo>
                    <a:pt x="1032" y="714"/>
                    <a:pt x="630" y="762"/>
                    <a:pt x="630" y="762"/>
                  </a:cubicBezTo>
                  <a:cubicBezTo>
                    <a:pt x="630" y="762"/>
                    <a:pt x="0" y="858"/>
                    <a:pt x="0" y="858"/>
                  </a:cubicBezTo>
                  <a:close/>
                </a:path>
              </a:pathLst>
            </a:custGeom>
            <a:pattFill prst="wdDnDiag">
              <a:fgClr>
                <a:srgbClr val="0B4599"/>
              </a:fgClr>
              <a:bgClr>
                <a:srgbClr val="FFFFFF"/>
              </a:bgClr>
            </a:pattFill>
            <a:ln w="9525">
              <a:noFill/>
              <a:round/>
              <a:headEnd/>
              <a:tailEnd/>
            </a:ln>
          </p:spPr>
          <p:txBody>
            <a:bodyPr lIns="124130" tIns="62065" rIns="124130" bIns="62065">
              <a:noAutofit/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</a:pPr>
              <a:endParaRPr lang="it-IT"/>
            </a:p>
          </p:txBody>
        </p:sp>
        <p:sp>
          <p:nvSpPr>
            <p:cNvPr id="20491" name="Line 12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gray">
            <a:xfrm flipH="1" flipV="1">
              <a:off x="7509071" y="3363173"/>
              <a:ext cx="1430511" cy="1279408"/>
            </a:xfrm>
            <a:prstGeom prst="line">
              <a:avLst/>
            </a:prstGeom>
            <a:noFill/>
            <a:ln w="19050">
              <a:solidFill>
                <a:srgbClr val="CC1A1A"/>
              </a:solidFill>
              <a:round/>
              <a:headEnd type="triangle" w="med" len="med"/>
              <a:tailEnd type="triangle" w="med" len="med"/>
            </a:ln>
          </p:spPr>
          <p:txBody>
            <a:bodyPr lIns="124130" tIns="62065" rIns="124130" bIns="62065">
              <a:noAutofit/>
            </a:bodyPr>
            <a:lstStyle/>
            <a:p>
              <a:endParaRPr lang="it-IT"/>
            </a:p>
          </p:txBody>
        </p:sp>
        <p:sp>
          <p:nvSpPr>
            <p:cNvPr id="20492" name="Line 13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gray">
            <a:xfrm>
              <a:off x="6462783" y="5266411"/>
              <a:ext cx="204335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</p:spPr>
          <p:txBody>
            <a:bodyPr lIns="124130" tIns="62065" rIns="124130" bIns="62065">
              <a:noAutofit/>
            </a:bodyPr>
            <a:lstStyle/>
            <a:p>
              <a:endParaRPr lang="it-IT"/>
            </a:p>
          </p:txBody>
        </p:sp>
        <p:sp>
          <p:nvSpPr>
            <p:cNvPr id="20493" name="Line 14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gray">
            <a:xfrm flipV="1">
              <a:off x="6415152" y="3194914"/>
              <a:ext cx="0" cy="2655644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dash"/>
              <a:round/>
              <a:headEnd/>
              <a:tailEnd/>
            </a:ln>
          </p:spPr>
          <p:txBody>
            <a:bodyPr lIns="124130" tIns="62065" rIns="124130" bIns="62065">
              <a:noAutofit/>
            </a:bodyPr>
            <a:lstStyle/>
            <a:p>
              <a:endParaRPr lang="it-IT"/>
            </a:p>
          </p:txBody>
        </p:sp>
        <p:sp>
          <p:nvSpPr>
            <p:cNvPr id="20494" name="Line 15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gray">
            <a:xfrm>
              <a:off x="5472063" y="4283839"/>
              <a:ext cx="89863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</p:spPr>
          <p:txBody>
            <a:bodyPr lIns="124130" tIns="62065" rIns="124130" bIns="62065">
              <a:noAutofit/>
            </a:bodyPr>
            <a:lstStyle/>
            <a:p>
              <a:endParaRPr lang="it-IT"/>
            </a:p>
          </p:txBody>
        </p:sp>
        <p:sp>
          <p:nvSpPr>
            <p:cNvPr id="20496" name="Text Box 17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6490297" y="3317697"/>
              <a:ext cx="965624" cy="371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4130" tIns="62065" rIns="124130" bIns="62065">
              <a:noAutofit/>
            </a:bodyPr>
            <a:lstStyle/>
            <a:p>
              <a:pPr eaLnBrk="0" hangingPunct="0">
                <a:buClr>
                  <a:srgbClr val="F4BF17"/>
                </a:buClr>
                <a:buSzPct val="40000"/>
              </a:pPr>
              <a:r>
                <a:rPr lang="it-IT" sz="1600" dirty="0">
                  <a:solidFill>
                    <a:srgbClr val="699419"/>
                  </a:solidFill>
                </a:rPr>
                <a:t>Traffico</a:t>
              </a:r>
            </a:p>
          </p:txBody>
        </p:sp>
        <p:sp>
          <p:nvSpPr>
            <p:cNvPr id="20497" name="Text Box 18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8613702" y="4685055"/>
              <a:ext cx="826035" cy="371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4130" tIns="62065" rIns="124130" bIns="62065">
              <a:noAutofit/>
            </a:bodyPr>
            <a:lstStyle/>
            <a:p>
              <a:pPr eaLnBrk="0" hangingPunct="0">
                <a:buClr>
                  <a:srgbClr val="F4BF17"/>
                </a:buClr>
                <a:buSzPct val="40000"/>
              </a:pPr>
              <a:r>
                <a:rPr lang="it-IT" sz="1600" dirty="0">
                  <a:solidFill>
                    <a:srgbClr val="0080B3"/>
                  </a:solidFill>
                </a:rPr>
                <a:t>Ricavi</a:t>
              </a:r>
            </a:p>
          </p:txBody>
        </p:sp>
        <p:sp>
          <p:nvSpPr>
            <p:cNvPr id="20498" name="Text Box 19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863949" y="4937319"/>
              <a:ext cx="881370" cy="325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4130" tIns="62065" rIns="124130" bIns="62065">
              <a:noAutofit/>
            </a:bodyPr>
            <a:lstStyle/>
            <a:p>
              <a:pPr eaLnBrk="0" hangingPunct="0">
                <a:buClr>
                  <a:srgbClr val="F4BF17"/>
                </a:buClr>
                <a:buSzPct val="40000"/>
              </a:pPr>
              <a:r>
                <a:rPr lang="it-IT" sz="1300" dirty="0"/>
                <a:t>BB Data</a:t>
              </a:r>
            </a:p>
          </p:txBody>
        </p:sp>
        <p:sp>
          <p:nvSpPr>
            <p:cNvPr id="20499" name="Text Box 20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8649063" y="5608162"/>
              <a:ext cx="758067" cy="325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124130" tIns="62065" rIns="124130" bIns="62065">
              <a:noAutofit/>
            </a:bodyPr>
            <a:lstStyle/>
            <a:p>
              <a:pPr eaLnBrk="0" hangingPunct="0">
                <a:buClr>
                  <a:srgbClr val="F4BF17"/>
                </a:buClr>
                <a:buSzPct val="40000"/>
              </a:pPr>
              <a:r>
                <a:rPr lang="it-IT" sz="1300" dirty="0"/>
                <a:t>Tempo</a:t>
              </a:r>
            </a:p>
          </p:txBody>
        </p:sp>
      </p:grpSp>
      <p:grpSp>
        <p:nvGrpSpPr>
          <p:cNvPr id="33" name="Group 32"/>
          <p:cNvGrpSpPr>
            <a:grpSpLocks noChangeAspect="1"/>
          </p:cNvGrpSpPr>
          <p:nvPr/>
        </p:nvGrpSpPr>
        <p:grpSpPr>
          <a:xfrm>
            <a:off x="680979" y="3282948"/>
            <a:ext cx="4156433" cy="2799820"/>
            <a:chOff x="722153" y="966789"/>
            <a:chExt cx="4898873" cy="329993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34" name="Picture 1"/>
            <p:cNvPicPr>
              <a:picLocks noChangeAspect="1" noChangeArrowheads="1"/>
            </p:cNvPicPr>
            <p:nvPr/>
          </p:nvPicPr>
          <p:blipFill>
            <a:blip r:embed="rId16" cstate="print"/>
            <a:stretch>
              <a:fillRect/>
            </a:stretch>
          </p:blipFill>
          <p:spPr bwMode="auto">
            <a:xfrm>
              <a:off x="722153" y="966789"/>
              <a:ext cx="4898873" cy="3299936"/>
            </a:xfrm>
            <a:prstGeom prst="rect">
              <a:avLst/>
            </a:prstGeom>
            <a:ln w="50800" cap="sq" cmpd="thickThin">
              <a:noFill/>
              <a:prstDash val="solid"/>
              <a:miter lim="800000"/>
            </a:ln>
            <a:effectLst>
              <a:innerShdw blurRad="76200">
                <a:srgbClr val="000000"/>
              </a:innerShdw>
            </a:effectLst>
          </p:spPr>
        </p:pic>
        <p:sp>
          <p:nvSpPr>
            <p:cNvPr id="35" name="Rectangle 34"/>
            <p:cNvSpPr/>
            <p:nvPr/>
          </p:nvSpPr>
          <p:spPr>
            <a:xfrm>
              <a:off x="847726" y="3782966"/>
              <a:ext cx="4638674" cy="29593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square" anchor="ctr" anchorCtr="0">
              <a:spAutoFit/>
            </a:bodyPr>
            <a:lstStyle/>
            <a:p>
              <a:pPr algn="ctr"/>
              <a:r>
                <a:rPr lang="it-IT" sz="1200" dirty="0" smtClean="0">
                  <a:latin typeface="Interstate-Light" pitchFamily="2" charset="0"/>
                </a:rPr>
                <a:t>Traffico Internet: 56 Exabyte/mese nel 2013</a:t>
              </a:r>
              <a:endParaRPr lang="it-IT" sz="1200" dirty="0">
                <a:latin typeface="Interstate-Light" pitchFamily="2" charset="0"/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5350921" y="1057059"/>
            <a:ext cx="3972316" cy="1842864"/>
            <a:chOff x="5281910" y="979423"/>
            <a:chExt cx="3972316" cy="1842864"/>
          </a:xfrm>
        </p:grpSpPr>
        <p:sp>
          <p:nvSpPr>
            <p:cNvPr id="2" name="Rectangle 10"/>
            <p:cNvSpPr>
              <a:spLocks noChangeArrowheads="1"/>
            </p:cNvSpPr>
            <p:nvPr/>
          </p:nvSpPr>
          <p:spPr bwMode="gray">
            <a:xfrm>
              <a:off x="5281910" y="979423"/>
              <a:ext cx="3972316" cy="184286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buClr>
                  <a:srgbClr val="F4BF17"/>
                </a:buClr>
                <a:buSzPct val="40000"/>
                <a:defRPr/>
              </a:pPr>
              <a:endParaRPr lang="it-IT" sz="1400">
                <a:cs typeface="+mn-cs"/>
              </a:endParaRPr>
            </a:p>
          </p:txBody>
        </p:sp>
        <p:pic>
          <p:nvPicPr>
            <p:cNvPr id="20503" name="Picture 7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gray">
            <a:xfrm>
              <a:off x="7735369" y="1527659"/>
              <a:ext cx="1194628" cy="469523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0507" name="Picture 16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6619127" y="1735925"/>
              <a:ext cx="994952" cy="435787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0508" name="Picture 17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7553893" y="2009058"/>
              <a:ext cx="1576071" cy="30218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0509" name="Picture 18" descr="Image:Joostlogo.gif">
              <a:hlinkClick r:id="rId20" tooltip="Image:Joostlogo.gif"/>
            </p:cNvPr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6662878" y="2108116"/>
              <a:ext cx="870354" cy="316577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0510" name="Picture 19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7642384" y="2364692"/>
              <a:ext cx="1096770" cy="36946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41" name="Picture 2" descr="C:\Users\groda\Pictures\Logos\flickr.png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6740979" y="2465273"/>
              <a:ext cx="794813" cy="315912"/>
            </a:xfrm>
            <a:prstGeom prst="rect">
              <a:avLst/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pic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5533901" y="1798444"/>
              <a:ext cx="1092531" cy="590699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43" name="Picture 22" descr="C:\Users\groda\Pictures\Logos\Skype.png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6801559" y="1343930"/>
              <a:ext cx="914899" cy="409875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</p:pic>
        <p:pic>
          <p:nvPicPr>
            <p:cNvPr id="42" name="Picture 1"/>
            <p:cNvPicPr>
              <a:picLocks noChangeAspect="1" noChangeArrowheads="1"/>
            </p:cNvPicPr>
            <p:nvPr/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5381749" y="2341568"/>
              <a:ext cx="1342814" cy="399044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pic>
        <p:pic>
          <p:nvPicPr>
            <p:cNvPr id="1027" name="Picture 3" descr="C:\Users\groda\Pictures\Logos\Hulu.jpg"/>
            <p:cNvPicPr>
              <a:picLocks noChangeAspect="1" noChangeArrowheads="1"/>
            </p:cNvPicPr>
            <p:nvPr/>
          </p:nvPicPr>
          <p:blipFill>
            <a:blip r:embed="rId27" cstate="print"/>
            <a:srcRect/>
            <a:stretch>
              <a:fillRect/>
            </a:stretch>
          </p:blipFill>
          <p:spPr bwMode="auto">
            <a:xfrm>
              <a:off x="6771101" y="1034168"/>
              <a:ext cx="923925" cy="400050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0511" name="Picture 32" descr="Google.png"/>
            <p:cNvPicPr>
              <a:picLocks noChangeAspect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5450774" y="1065482"/>
              <a:ext cx="1254332" cy="454951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20504" name="Picture 8"/>
            <p:cNvPicPr>
              <a:picLocks noChangeAspect="1" noChangeArrowheads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gray">
            <a:xfrm>
              <a:off x="5332252" y="1545920"/>
              <a:ext cx="1438001" cy="253224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  <p:pic>
          <p:nvPicPr>
            <p:cNvPr id="1029" name="Picture 5"/>
            <p:cNvPicPr>
              <a:picLocks noChangeAspect="1" noChangeArrowheads="1"/>
            </p:cNvPicPr>
            <p:nvPr/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7796770" y="1069793"/>
              <a:ext cx="1200150" cy="40005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</p:pic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4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48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fld id="{05C22523-F946-4D4B-9255-B2318FB82276}" type="slidenum">
              <a:rPr lang="it-IT" smtClean="0"/>
              <a:pPr/>
              <a:t>3</a:t>
            </a:fld>
            <a:endParaRPr lang="it-IT" smtClean="0"/>
          </a:p>
        </p:txBody>
      </p:sp>
      <p:pic>
        <p:nvPicPr>
          <p:cNvPr id="2052" name="Picture 4" descr="C:\Users\groda\Pictures\Microsoft Clip Organizer\DiagrammaBarre3.jpg"/>
          <p:cNvPicPr>
            <a:picLocks noGrp="1" noChangeAspect="1" noChangeArrowheads="1"/>
          </p:cNvPicPr>
          <p:nvPr>
            <p:ph type="pic" idx="1"/>
          </p:nvPr>
        </p:nvPicPr>
        <p:blipFill>
          <a:blip r:embed="rId3" cstate="print">
            <a:lum bright="39000" contrast="-64000"/>
          </a:blip>
          <a:srcRect t="13290" b="13290"/>
          <a:stretch>
            <a:fillRect/>
          </a:stretch>
        </p:blipFill>
        <p:spPr/>
      </p:pic>
      <p:sp>
        <p:nvSpPr>
          <p:cNvPr id="22567" name="Rectangle 3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Nuovi modelli di business emergenti: OTT </a:t>
            </a:r>
            <a:endParaRPr lang="it-IT" dirty="0" smtClean="0"/>
          </a:p>
        </p:txBody>
      </p:sp>
      <p:sp>
        <p:nvSpPr>
          <p:cNvPr id="47" name="Freeform 46"/>
          <p:cNvSpPr/>
          <p:nvPr/>
        </p:nvSpPr>
        <p:spPr>
          <a:xfrm>
            <a:off x="219141" y="1827673"/>
            <a:ext cx="9553575" cy="2339976"/>
          </a:xfrm>
          <a:custGeom>
            <a:avLst/>
            <a:gdLst>
              <a:gd name="connsiteX0" fmla="*/ 47625 w 9553575"/>
              <a:gd name="connsiteY0" fmla="*/ 0 h 2266950"/>
              <a:gd name="connsiteX1" fmla="*/ 4743450 w 9553575"/>
              <a:gd name="connsiteY1" fmla="*/ 19050 h 2266950"/>
              <a:gd name="connsiteX2" fmla="*/ 4752975 w 9553575"/>
              <a:gd name="connsiteY2" fmla="*/ 1828800 h 2266950"/>
              <a:gd name="connsiteX3" fmla="*/ 7219950 w 9553575"/>
              <a:gd name="connsiteY3" fmla="*/ 1819275 h 2266950"/>
              <a:gd name="connsiteX4" fmla="*/ 7219950 w 9553575"/>
              <a:gd name="connsiteY4" fmla="*/ 9525 h 2266950"/>
              <a:gd name="connsiteX5" fmla="*/ 9115425 w 9553575"/>
              <a:gd name="connsiteY5" fmla="*/ 19050 h 2266950"/>
              <a:gd name="connsiteX6" fmla="*/ 9553575 w 9553575"/>
              <a:gd name="connsiteY6" fmla="*/ 1143000 h 2266950"/>
              <a:gd name="connsiteX7" fmla="*/ 9086850 w 9553575"/>
              <a:gd name="connsiteY7" fmla="*/ 2266950 h 2266950"/>
              <a:gd name="connsiteX8" fmla="*/ 0 w 9553575"/>
              <a:gd name="connsiteY8" fmla="*/ 2200275 h 2266950"/>
              <a:gd name="connsiteX9" fmla="*/ 47625 w 9553575"/>
              <a:gd name="connsiteY9" fmla="*/ 0 h 2266950"/>
              <a:gd name="connsiteX0" fmla="*/ 0 w 9553575"/>
              <a:gd name="connsiteY0" fmla="*/ 0 h 2339976"/>
              <a:gd name="connsiteX1" fmla="*/ 4743450 w 9553575"/>
              <a:gd name="connsiteY1" fmla="*/ 92076 h 2339976"/>
              <a:gd name="connsiteX2" fmla="*/ 4752975 w 9553575"/>
              <a:gd name="connsiteY2" fmla="*/ 1901826 h 2339976"/>
              <a:gd name="connsiteX3" fmla="*/ 7219950 w 9553575"/>
              <a:gd name="connsiteY3" fmla="*/ 1892301 h 2339976"/>
              <a:gd name="connsiteX4" fmla="*/ 7219950 w 9553575"/>
              <a:gd name="connsiteY4" fmla="*/ 82551 h 2339976"/>
              <a:gd name="connsiteX5" fmla="*/ 9115425 w 9553575"/>
              <a:gd name="connsiteY5" fmla="*/ 92076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0 w 9553575"/>
              <a:gd name="connsiteY8" fmla="*/ 2273301 h 2339976"/>
              <a:gd name="connsiteX9" fmla="*/ 0 w 9553575"/>
              <a:gd name="connsiteY9" fmla="*/ 0 h 2339976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52975 w 9553575"/>
              <a:gd name="connsiteY2" fmla="*/ 1901826 h 2339976"/>
              <a:gd name="connsiteX3" fmla="*/ 7219950 w 9553575"/>
              <a:gd name="connsiteY3" fmla="*/ 1892301 h 2339976"/>
              <a:gd name="connsiteX4" fmla="*/ 7219950 w 9553575"/>
              <a:gd name="connsiteY4" fmla="*/ 82551 h 2339976"/>
              <a:gd name="connsiteX5" fmla="*/ 9115425 w 9553575"/>
              <a:gd name="connsiteY5" fmla="*/ 92076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0 w 9553575"/>
              <a:gd name="connsiteY8" fmla="*/ 2273301 h 2339976"/>
              <a:gd name="connsiteX9" fmla="*/ 0 w 9553575"/>
              <a:gd name="connsiteY9" fmla="*/ 0 h 2339976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10177 w 9553575"/>
              <a:gd name="connsiteY2" fmla="*/ 1898676 h 2339976"/>
              <a:gd name="connsiteX3" fmla="*/ 7219950 w 9553575"/>
              <a:gd name="connsiteY3" fmla="*/ 1892301 h 2339976"/>
              <a:gd name="connsiteX4" fmla="*/ 7219950 w 9553575"/>
              <a:gd name="connsiteY4" fmla="*/ 82551 h 2339976"/>
              <a:gd name="connsiteX5" fmla="*/ 9115425 w 9553575"/>
              <a:gd name="connsiteY5" fmla="*/ 92076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0 w 9553575"/>
              <a:gd name="connsiteY8" fmla="*/ 2273301 h 2339976"/>
              <a:gd name="connsiteX9" fmla="*/ 0 w 9553575"/>
              <a:gd name="connsiteY9" fmla="*/ 0 h 2339976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10177 w 9553575"/>
              <a:gd name="connsiteY2" fmla="*/ 1898676 h 2339976"/>
              <a:gd name="connsiteX3" fmla="*/ 7219950 w 9553575"/>
              <a:gd name="connsiteY3" fmla="*/ 1892301 h 2339976"/>
              <a:gd name="connsiteX4" fmla="*/ 7229574 w 9553575"/>
              <a:gd name="connsiteY4" fmla="*/ 0 h 2339976"/>
              <a:gd name="connsiteX5" fmla="*/ 9115425 w 9553575"/>
              <a:gd name="connsiteY5" fmla="*/ 92076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0 w 9553575"/>
              <a:gd name="connsiteY8" fmla="*/ 2273301 h 2339976"/>
              <a:gd name="connsiteX9" fmla="*/ 0 w 9553575"/>
              <a:gd name="connsiteY9" fmla="*/ 0 h 2339976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10177 w 9553575"/>
              <a:gd name="connsiteY2" fmla="*/ 1898676 h 2339976"/>
              <a:gd name="connsiteX3" fmla="*/ 7219950 w 9553575"/>
              <a:gd name="connsiteY3" fmla="*/ 1892301 h 2339976"/>
              <a:gd name="connsiteX4" fmla="*/ 7229574 w 9553575"/>
              <a:gd name="connsiteY4" fmla="*/ 0 h 2339976"/>
              <a:gd name="connsiteX5" fmla="*/ 9091737 w 9553575"/>
              <a:gd name="connsiteY5" fmla="*/ 0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0 w 9553575"/>
              <a:gd name="connsiteY8" fmla="*/ 2273301 h 2339976"/>
              <a:gd name="connsiteX9" fmla="*/ 0 w 9553575"/>
              <a:gd name="connsiteY9" fmla="*/ 0 h 2339976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10177 w 9553575"/>
              <a:gd name="connsiteY2" fmla="*/ 1898676 h 2339976"/>
              <a:gd name="connsiteX3" fmla="*/ 7219950 w 9553575"/>
              <a:gd name="connsiteY3" fmla="*/ 1892301 h 2339976"/>
              <a:gd name="connsiteX4" fmla="*/ 7229574 w 9553575"/>
              <a:gd name="connsiteY4" fmla="*/ 0 h 2339976"/>
              <a:gd name="connsiteX5" fmla="*/ 9091737 w 9553575"/>
              <a:gd name="connsiteY5" fmla="*/ 0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36513 w 9553575"/>
              <a:gd name="connsiteY8" fmla="*/ 2324120 h 2339976"/>
              <a:gd name="connsiteX9" fmla="*/ 0 w 9553575"/>
              <a:gd name="connsiteY9" fmla="*/ 0 h 2339976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10177 w 9553575"/>
              <a:gd name="connsiteY2" fmla="*/ 1898676 h 2339976"/>
              <a:gd name="connsiteX3" fmla="*/ 7219950 w 9553575"/>
              <a:gd name="connsiteY3" fmla="*/ 1892301 h 2339976"/>
              <a:gd name="connsiteX4" fmla="*/ 7229574 w 9553575"/>
              <a:gd name="connsiteY4" fmla="*/ 0 h 2339976"/>
              <a:gd name="connsiteX5" fmla="*/ 9091737 w 9553575"/>
              <a:gd name="connsiteY5" fmla="*/ 0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0 w 9553575"/>
              <a:gd name="connsiteY8" fmla="*/ 2324120 h 2339976"/>
              <a:gd name="connsiteX9" fmla="*/ 0 w 9553575"/>
              <a:gd name="connsiteY9" fmla="*/ 0 h 2339976"/>
              <a:gd name="connsiteX0" fmla="*/ 0 w 9553575"/>
              <a:gd name="connsiteY0" fmla="*/ 0 h 2373345"/>
              <a:gd name="connsiteX1" fmla="*/ 4710177 w 9553575"/>
              <a:gd name="connsiteY1" fmla="*/ 0 h 2373345"/>
              <a:gd name="connsiteX2" fmla="*/ 4710177 w 9553575"/>
              <a:gd name="connsiteY2" fmla="*/ 1898676 h 2373345"/>
              <a:gd name="connsiteX3" fmla="*/ 7219950 w 9553575"/>
              <a:gd name="connsiteY3" fmla="*/ 1892301 h 2373345"/>
              <a:gd name="connsiteX4" fmla="*/ 7229574 w 9553575"/>
              <a:gd name="connsiteY4" fmla="*/ 0 h 2373345"/>
              <a:gd name="connsiteX5" fmla="*/ 9091737 w 9553575"/>
              <a:gd name="connsiteY5" fmla="*/ 0 h 2373345"/>
              <a:gd name="connsiteX6" fmla="*/ 9553575 w 9553575"/>
              <a:gd name="connsiteY6" fmla="*/ 1216026 h 2373345"/>
              <a:gd name="connsiteX7" fmla="*/ 9086850 w 9553575"/>
              <a:gd name="connsiteY7" fmla="*/ 2339976 h 2373345"/>
              <a:gd name="connsiteX8" fmla="*/ 0 w 9553575"/>
              <a:gd name="connsiteY8" fmla="*/ 2373345 h 2373345"/>
              <a:gd name="connsiteX9" fmla="*/ 0 w 9553575"/>
              <a:gd name="connsiteY9" fmla="*/ 0 h 2373345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10177 w 9553575"/>
              <a:gd name="connsiteY2" fmla="*/ 1898676 h 2339976"/>
              <a:gd name="connsiteX3" fmla="*/ 7219950 w 9553575"/>
              <a:gd name="connsiteY3" fmla="*/ 1892301 h 2339976"/>
              <a:gd name="connsiteX4" fmla="*/ 7229574 w 9553575"/>
              <a:gd name="connsiteY4" fmla="*/ 0 h 2339976"/>
              <a:gd name="connsiteX5" fmla="*/ 9091737 w 9553575"/>
              <a:gd name="connsiteY5" fmla="*/ 0 h 2339976"/>
              <a:gd name="connsiteX6" fmla="*/ 9553575 w 9553575"/>
              <a:gd name="connsiteY6" fmla="*/ 1216026 h 2339976"/>
              <a:gd name="connsiteX7" fmla="*/ 9086850 w 9553575"/>
              <a:gd name="connsiteY7" fmla="*/ 2339976 h 2339976"/>
              <a:gd name="connsiteX8" fmla="*/ 0 w 9553575"/>
              <a:gd name="connsiteY8" fmla="*/ 2336832 h 2339976"/>
              <a:gd name="connsiteX9" fmla="*/ 0 w 9553575"/>
              <a:gd name="connsiteY9" fmla="*/ 0 h 2339976"/>
              <a:gd name="connsiteX0" fmla="*/ 0 w 9553575"/>
              <a:gd name="connsiteY0" fmla="*/ 0 h 2339976"/>
              <a:gd name="connsiteX1" fmla="*/ 4710177 w 9553575"/>
              <a:gd name="connsiteY1" fmla="*/ 0 h 2339976"/>
              <a:gd name="connsiteX2" fmla="*/ 4710177 w 9553575"/>
              <a:gd name="connsiteY2" fmla="*/ 1898676 h 2339976"/>
              <a:gd name="connsiteX3" fmla="*/ 7219950 w 9553575"/>
              <a:gd name="connsiteY3" fmla="*/ 1892301 h 2339976"/>
              <a:gd name="connsiteX4" fmla="*/ 7229574 w 9553575"/>
              <a:gd name="connsiteY4" fmla="*/ 0 h 2339976"/>
              <a:gd name="connsiteX5" fmla="*/ 9091737 w 9553575"/>
              <a:gd name="connsiteY5" fmla="*/ 0 h 2339976"/>
              <a:gd name="connsiteX6" fmla="*/ 9553575 w 9553575"/>
              <a:gd name="connsiteY6" fmla="*/ 1154116 h 2339976"/>
              <a:gd name="connsiteX7" fmla="*/ 9086850 w 9553575"/>
              <a:gd name="connsiteY7" fmla="*/ 2339976 h 2339976"/>
              <a:gd name="connsiteX8" fmla="*/ 0 w 9553575"/>
              <a:gd name="connsiteY8" fmla="*/ 2336832 h 2339976"/>
              <a:gd name="connsiteX9" fmla="*/ 0 w 9553575"/>
              <a:gd name="connsiteY9" fmla="*/ 0 h 2339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53575" h="2339976">
                <a:moveTo>
                  <a:pt x="0" y="0"/>
                </a:moveTo>
                <a:lnTo>
                  <a:pt x="4710177" y="0"/>
                </a:lnTo>
                <a:lnTo>
                  <a:pt x="4710177" y="1898676"/>
                </a:lnTo>
                <a:lnTo>
                  <a:pt x="7219950" y="1892301"/>
                </a:lnTo>
                <a:lnTo>
                  <a:pt x="7229574" y="0"/>
                </a:lnTo>
                <a:lnTo>
                  <a:pt x="9091737" y="0"/>
                </a:lnTo>
                <a:lnTo>
                  <a:pt x="9553575" y="1154116"/>
                </a:lnTo>
                <a:lnTo>
                  <a:pt x="9086850" y="2339976"/>
                </a:lnTo>
                <a:lnTo>
                  <a:pt x="0" y="2336832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print"/>
            <a:stretch>
              <a:fillRect/>
            </a:stretch>
          </a:blip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050" name="Picture 2" descr="C:\Users\groda\Pictures\Microsoft Clip Organizer\Ciak2.jpg"/>
          <p:cNvPicPr preferRelativeResize="0">
            <a:picLocks noChangeAspect="1" noChangeArrowheads="1"/>
          </p:cNvPicPr>
          <p:nvPr/>
        </p:nvPicPr>
        <p:blipFill>
          <a:blip r:embed="rId5" cstate="print"/>
          <a:stretch>
            <a:fillRect/>
          </a:stretch>
        </p:blipFill>
        <p:spPr bwMode="auto">
          <a:xfrm>
            <a:off x="425388" y="2030902"/>
            <a:ext cx="192000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2" name="Picture 2" descr="C:\Users\groda\Pictures\Microsoft Clip Organizer\Ciak2.jpg"/>
          <p:cNvPicPr preferRelativeResize="0">
            <a:picLocks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2652681" y="2046750"/>
            <a:ext cx="2055724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3" name="Picture 2" descr="C:\Users\groda\Pictures\Microsoft Clip Organizer\Ciak2.jpg"/>
          <p:cNvPicPr preferRelativeResize="0"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7571812" y="2030902"/>
            <a:ext cx="1736660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Text Box 37"/>
          <p:cNvSpPr>
            <a:spLocks noChangeArrowheads="1"/>
          </p:cNvSpPr>
          <p:nvPr/>
        </p:nvSpPr>
        <p:spPr bwMode="gray">
          <a:xfrm>
            <a:off x="1009596" y="4329113"/>
            <a:ext cx="2962610" cy="1265783"/>
          </a:xfrm>
          <a:prstGeom prst="roundRect">
            <a:avLst>
              <a:gd name="adj" fmla="val 7637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32137" indent="-132137" defTabSz="912095" eaLnBrk="0" hangingPunct="0">
              <a:buClr>
                <a:srgbClr val="FFCC00"/>
              </a:buClr>
              <a:buFontTx/>
              <a:buChar char="•"/>
            </a:pPr>
            <a:r>
              <a:rPr lang="it-IT" sz="1400" dirty="0">
                <a:solidFill>
                  <a:schemeClr val="tx1"/>
                </a:solidFill>
                <a:latin typeface="Interstate-Light" pitchFamily="2" charset="0"/>
                <a:ea typeface="+mn-ea"/>
                <a:cs typeface="+mn-cs"/>
              </a:rPr>
              <a:t>Scarsa conoscenza del profilo demografico dell’utente</a:t>
            </a:r>
          </a:p>
          <a:p>
            <a:pPr marL="132137" indent="-132137" defTabSz="912095" eaLnBrk="0" hangingPunct="0">
              <a:buClr>
                <a:srgbClr val="FFCC00"/>
              </a:buClr>
              <a:buFontTx/>
              <a:buChar char="•"/>
            </a:pPr>
            <a:r>
              <a:rPr lang="it-IT" sz="1400" dirty="0">
                <a:solidFill>
                  <a:schemeClr val="tx1"/>
                </a:solidFill>
                <a:latin typeface="Interstate-Light" pitchFamily="2" charset="0"/>
                <a:ea typeface="+mn-ea"/>
                <a:cs typeface="+mn-cs"/>
              </a:rPr>
              <a:t>Bassi ricavi per utente</a:t>
            </a:r>
          </a:p>
        </p:txBody>
      </p:sp>
      <p:pic>
        <p:nvPicPr>
          <p:cNvPr id="44" name="Picture 2" descr="C:\Users\groda\Pictures\Microsoft Clip Organizer\Ciak2.jpg"/>
          <p:cNvPicPr preferRelativeResize="0"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5230310" y="2041506"/>
            <a:ext cx="1945469" cy="144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9" name="Rectangle 48"/>
          <p:cNvSpPr/>
          <p:nvPr/>
        </p:nvSpPr>
        <p:spPr bwMode="auto">
          <a:xfrm>
            <a:off x="524064" y="1240323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016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101600" h="152400" prst="hardEdge"/>
            <a:extrusionClr>
              <a:srgbClr val="FFFFFF"/>
            </a:extrusion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None/>
            </a:pPr>
            <a:r>
              <a:rPr lang="it-IT" sz="1200" b="1" dirty="0" smtClean="0">
                <a:solidFill>
                  <a:srgbClr val="FF0000"/>
                </a:solidFill>
                <a:latin typeface="Interstate-Light" pitchFamily="2" charset="0"/>
              </a:rPr>
              <a:t>Sorgente dei Contenuti</a:t>
            </a:r>
            <a:endParaRPr lang="it-IT" sz="1200" b="1" dirty="0">
              <a:solidFill>
                <a:srgbClr val="FF0000"/>
              </a:solidFill>
              <a:latin typeface="Interstate-Light" pitchFamily="2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2871759" y="1240323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016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101600" h="152400" prst="hardEdge"/>
            <a:extrusionClr>
              <a:srgbClr val="FFFFFF"/>
            </a:extrusion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1200" b="1" dirty="0" smtClean="0">
                <a:solidFill>
                  <a:srgbClr val="FF0000"/>
                </a:solidFill>
                <a:latin typeface="Interstate-Light" pitchFamily="2" charset="0"/>
              </a:rPr>
              <a:t>Aggregatore</a:t>
            </a:r>
          </a:p>
        </p:txBody>
      </p:sp>
      <p:sp>
        <p:nvSpPr>
          <p:cNvPr id="51" name="Rectangle 50"/>
          <p:cNvSpPr/>
          <p:nvPr/>
        </p:nvSpPr>
        <p:spPr bwMode="auto">
          <a:xfrm>
            <a:off x="5281617" y="1240323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016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101600" h="152400" prst="hardEdge"/>
            <a:extrusionClr>
              <a:srgbClr val="FFFFFF"/>
            </a:extrusion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None/>
            </a:pPr>
            <a:r>
              <a:rPr lang="it-IT" sz="1200" b="1" dirty="0" smtClean="0">
                <a:solidFill>
                  <a:srgbClr val="FF0000"/>
                </a:solidFill>
                <a:latin typeface="Interstate-Light" pitchFamily="2" charset="0"/>
              </a:rPr>
              <a:t>Telco Operator</a:t>
            </a:r>
          </a:p>
        </p:txBody>
      </p:sp>
      <p:sp>
        <p:nvSpPr>
          <p:cNvPr id="52" name="Rectangle 51"/>
          <p:cNvSpPr/>
          <p:nvPr/>
        </p:nvSpPr>
        <p:spPr bwMode="auto">
          <a:xfrm>
            <a:off x="7508910" y="1240323"/>
            <a:ext cx="180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016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101600" h="152400" prst="hardEdge"/>
            <a:extrusionClr>
              <a:srgbClr val="FFFFFF"/>
            </a:extrusion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1200" b="1" dirty="0" smtClean="0">
                <a:solidFill>
                  <a:srgbClr val="FF0000"/>
                </a:solidFill>
                <a:latin typeface="Interstate-Light" pitchFamily="2" charset="0"/>
              </a:rPr>
              <a:t>Cliente</a:t>
            </a:r>
          </a:p>
        </p:txBody>
      </p:sp>
      <p:sp>
        <p:nvSpPr>
          <p:cNvPr id="69" name="Text Box 37"/>
          <p:cNvSpPr>
            <a:spLocks noChangeArrowheads="1"/>
          </p:cNvSpPr>
          <p:nvPr/>
        </p:nvSpPr>
        <p:spPr bwMode="gray">
          <a:xfrm>
            <a:off x="4916487" y="4329113"/>
            <a:ext cx="2524454" cy="1265783"/>
          </a:xfrm>
          <a:prstGeom prst="roundRect">
            <a:avLst>
              <a:gd name="adj" fmla="val 7637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32137" indent="-132137" defTabSz="912095" eaLnBrk="0" hangingPunct="0">
              <a:buClr>
                <a:srgbClr val="FFCC00"/>
              </a:buClr>
              <a:buFontTx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Interstate-Light" pitchFamily="2" charset="0"/>
              </a:rPr>
              <a:t>Nessun valore differenziante da parte del Carrier</a:t>
            </a:r>
          </a:p>
          <a:p>
            <a:pPr marL="132137" indent="-132137" defTabSz="912095" eaLnBrk="0" hangingPunct="0">
              <a:buClr>
                <a:srgbClr val="FFCC00"/>
              </a:buClr>
              <a:buFontTx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Interstate-Light" pitchFamily="2" charset="0"/>
              </a:rPr>
              <a:t>Ricavi limitati al canone di accesso flat</a:t>
            </a:r>
            <a:endParaRPr lang="it-IT" sz="1400" dirty="0">
              <a:solidFill>
                <a:schemeClr val="tx1"/>
              </a:solidFill>
              <a:latin typeface="Interstate-Light" pitchFamily="2" charset="0"/>
            </a:endParaRPr>
          </a:p>
        </p:txBody>
      </p:sp>
      <p:sp>
        <p:nvSpPr>
          <p:cNvPr id="70" name="Text Box 37"/>
          <p:cNvSpPr>
            <a:spLocks noChangeArrowheads="1"/>
          </p:cNvSpPr>
          <p:nvPr/>
        </p:nvSpPr>
        <p:spPr bwMode="gray">
          <a:xfrm>
            <a:off x="7618449" y="4329113"/>
            <a:ext cx="1935189" cy="1265783"/>
          </a:xfrm>
          <a:prstGeom prst="roundRect">
            <a:avLst>
              <a:gd name="adj" fmla="val 7637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32137" indent="-132137" defTabSz="912095" eaLnBrk="0" hangingPunct="0">
              <a:buClr>
                <a:srgbClr val="FFCC00"/>
              </a:buClr>
              <a:buFontTx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Interstate-Light" pitchFamily="2" charset="0"/>
              </a:rPr>
              <a:t>User Experience “Buona quanto basta”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000"/>
                            </p:stCondLst>
                            <p:childTnLst>
                              <p:par>
                                <p:cTn id="5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" grpId="0" animBg="1"/>
      <p:bldP spid="49" grpId="0" animBg="1"/>
      <p:bldP spid="50" grpId="0" animBg="1"/>
      <p:bldP spid="51" grpId="0" animBg="1"/>
      <p:bldP spid="52" grpId="0" animBg="1"/>
      <p:bldP spid="69" grpId="0" animBg="1"/>
      <p:bldP spid="7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Connections2.jpg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lum bright="10000"/>
          </a:blip>
          <a:srcRect t="11403" b="11403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Innovazione: i driver</a:t>
            </a:r>
            <a:endParaRPr lang="it-IT"/>
          </a:p>
        </p:txBody>
      </p:sp>
      <p:grpSp>
        <p:nvGrpSpPr>
          <p:cNvPr id="59" name="Group 58"/>
          <p:cNvGrpSpPr/>
          <p:nvPr/>
        </p:nvGrpSpPr>
        <p:grpSpPr>
          <a:xfrm>
            <a:off x="285750" y="1053950"/>
            <a:ext cx="4076700" cy="2268312"/>
            <a:chOff x="285750" y="1085849"/>
            <a:chExt cx="4076700" cy="2268312"/>
          </a:xfrm>
        </p:grpSpPr>
        <p:pic>
          <p:nvPicPr>
            <p:cNvPr id="169996" name="Picture 12" descr="C:\Users\groda\Desktop\Picture2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rot="246825">
              <a:off x="1998663" y="1085849"/>
              <a:ext cx="2363787" cy="874713"/>
            </a:xfrm>
            <a:prstGeom prst="rect">
              <a:avLst/>
            </a:prstGeom>
            <a:noFill/>
          </p:spPr>
        </p:pic>
        <p:grpSp>
          <p:nvGrpSpPr>
            <p:cNvPr id="42" name="Group 41"/>
            <p:cNvGrpSpPr/>
            <p:nvPr/>
          </p:nvGrpSpPr>
          <p:grpSpPr>
            <a:xfrm>
              <a:off x="285750" y="1249136"/>
              <a:ext cx="2661582" cy="2105025"/>
              <a:chOff x="285750" y="1238250"/>
              <a:chExt cx="2661582" cy="2105025"/>
            </a:xfrm>
          </p:grpSpPr>
          <p:sp>
            <p:nvSpPr>
              <p:cNvPr id="44" name="Oval 43"/>
              <p:cNvSpPr/>
              <p:nvPr/>
            </p:nvSpPr>
            <p:spPr bwMode="auto">
              <a:xfrm>
                <a:off x="285750" y="1238250"/>
                <a:ext cx="2638087" cy="2105025"/>
              </a:xfrm>
              <a:prstGeom prst="ellipse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algn="ctr">
                  <a:buNone/>
                </a:pPr>
                <a:endParaRPr lang="it-IT" sz="1400" smtClean="0">
                  <a:solidFill>
                    <a:schemeClr val="tx1"/>
                  </a:solidFill>
                  <a:latin typeface="Interstate-Light" pitchFamily="2" charset="0"/>
                </a:endParaRPr>
              </a:p>
            </p:txBody>
          </p:sp>
          <p:pic>
            <p:nvPicPr>
              <p:cNvPr id="189452" name="Picture 12" descr="C:\Users\groda\Pictures\Logos\Google.png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81818" y="1631432"/>
                <a:ext cx="1023347" cy="402194"/>
              </a:xfrm>
              <a:prstGeom prst="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54" name="Picture 14" descr="C:\Users\groda\Pictures\Logos\MSN.png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1553594" y="1678257"/>
                <a:ext cx="908420" cy="404660"/>
              </a:xfrm>
              <a:prstGeom prst="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55" name="Picture 15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311054" y="2377270"/>
                <a:ext cx="636278" cy="443466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58" name="Picture 18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1191362" y="1339894"/>
                <a:ext cx="1038446" cy="348115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60" name="Picture 20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817161" y="2056535"/>
                <a:ext cx="859934" cy="25362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61" name="Picture 21" descr="C:\Users\groda\Pictures\Logos\3.png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559151" y="1753324"/>
                <a:ext cx="345659" cy="448908"/>
              </a:xfrm>
              <a:prstGeom prst="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62" name="Picture 22" descr="C:\Users\groda\Pictures\Logos\Skype.pn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614061" y="2362471"/>
                <a:ext cx="914899" cy="409875"/>
              </a:xfrm>
              <a:prstGeom prst="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27" name="Picture 46" descr="front_logo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285750" y="2019820"/>
                <a:ext cx="530225" cy="487362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63" name="Picture 23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732769" y="2829339"/>
                <a:ext cx="846872" cy="362945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59" name="Picture 19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1584728" y="2819107"/>
                <a:ext cx="800100" cy="419100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89456" name="Picture 16" descr="C:\Users\groda\Pictures\Logos\Nokia.png"/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1392116" y="2477499"/>
                <a:ext cx="965237" cy="406065"/>
              </a:xfrm>
              <a:prstGeom prst="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  <p:pic>
            <p:nvPicPr>
              <p:cNvPr id="169985" name="Picture 1" descr="C:\Users\groda\Pictures\Logos\Amazon.PNG"/>
              <p:cNvPicPr>
                <a:picLocks noChangeAspect="1" noChangeArrowheads="1"/>
              </p:cNvPicPr>
              <p:nvPr/>
            </p:nvPicPr>
            <p:blipFill>
              <a:blip r:embed="rId15" cstate="print"/>
              <a:stretch>
                <a:fillRect/>
              </a:stretch>
            </p:blipFill>
            <p:spPr bwMode="auto">
              <a:xfrm>
                <a:off x="1534887" y="2061655"/>
                <a:ext cx="898496" cy="410083"/>
              </a:xfrm>
              <a:prstGeom prst="rect">
                <a:avLst/>
              </a:prstGeom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</p:pic>
        </p:grpSp>
        <p:sp>
          <p:nvSpPr>
            <p:cNvPr id="49" name="Rectangle 48"/>
            <p:cNvSpPr/>
            <p:nvPr/>
          </p:nvSpPr>
          <p:spPr>
            <a:xfrm rot="787632">
              <a:off x="2461844" y="1322003"/>
              <a:ext cx="1486637" cy="25431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prstTxWarp prst="textChevron">
                <a:avLst/>
              </a:prstTxWarp>
              <a:spAutoFit/>
            </a:bodyPr>
            <a:lstStyle/>
            <a:p>
              <a:pPr algn="ctr"/>
              <a:r>
                <a:rPr lang="en-US" sz="5400" b="1" dirty="0" err="1" smtClean="0">
                  <a:ln w="1905"/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Pressione</a:t>
              </a:r>
              <a:r>
                <a:rPr lang="en-US" sz="5400" b="1" dirty="0" smtClean="0">
                  <a:ln w="1905"/>
                  <a:solidFill>
                    <a:schemeClr val="bg2">
                      <a:lumMod val="10000"/>
                    </a:schemeClr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 </a:t>
              </a:r>
              <a:r>
                <a:rPr lang="en-US" sz="5400" b="1" dirty="0" err="1" smtClean="0">
                  <a:ln w="1905"/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competitiva</a:t>
              </a:r>
              <a:r>
                <a:rPr lang="en-US" sz="5400" b="1" dirty="0" smtClean="0">
                  <a:ln w="1905"/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 </a:t>
              </a:r>
              <a:endParaRPr lang="en-US" sz="5400" b="1" dirty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285750" y="3789737"/>
            <a:ext cx="3943350" cy="2483081"/>
            <a:chOff x="285750" y="3757838"/>
            <a:chExt cx="3943350" cy="2483081"/>
          </a:xfrm>
        </p:grpSpPr>
        <p:grpSp>
          <p:nvGrpSpPr>
            <p:cNvPr id="60" name="Group 59"/>
            <p:cNvGrpSpPr/>
            <p:nvPr/>
          </p:nvGrpSpPr>
          <p:grpSpPr>
            <a:xfrm>
              <a:off x="285750" y="3771900"/>
              <a:ext cx="3943350" cy="2469019"/>
              <a:chOff x="285750" y="3771900"/>
              <a:chExt cx="3943350" cy="2469019"/>
            </a:xfrm>
          </p:grpSpPr>
          <p:pic>
            <p:nvPicPr>
              <p:cNvPr id="169992" name="Picture 8" descr="C:\Users\groda\Desktop\Picture1.png"/>
              <p:cNvPicPr>
                <a:picLocks noChangeAspect="1" noChangeArrowheads="1"/>
              </p:cNvPicPr>
              <p:nvPr/>
            </p:nvPicPr>
            <p:blipFill>
              <a:blip r:embed="rId16" cstate="print"/>
              <a:stretch>
                <a:fillRect/>
              </a:stretch>
            </p:blipFill>
            <p:spPr bwMode="auto">
              <a:xfrm rot="178922">
                <a:off x="1646237" y="4941447"/>
                <a:ext cx="2582863" cy="1299472"/>
              </a:xfrm>
              <a:prstGeom prst="rect">
                <a:avLst/>
              </a:prstGeom>
              <a:noFill/>
            </p:spPr>
          </p:pic>
          <p:grpSp>
            <p:nvGrpSpPr>
              <p:cNvPr id="43" name="Group 42"/>
              <p:cNvGrpSpPr/>
              <p:nvPr/>
            </p:nvGrpSpPr>
            <p:grpSpPr>
              <a:xfrm>
                <a:off x="285750" y="3771900"/>
                <a:ext cx="2638087" cy="2114897"/>
                <a:chOff x="285750" y="3771900"/>
                <a:chExt cx="2638087" cy="2114897"/>
              </a:xfrm>
            </p:grpSpPr>
            <p:sp>
              <p:nvSpPr>
                <p:cNvPr id="32" name="Oval 31"/>
                <p:cNvSpPr/>
                <p:nvPr/>
              </p:nvSpPr>
              <p:spPr bwMode="auto">
                <a:xfrm>
                  <a:off x="285750" y="3771900"/>
                  <a:ext cx="2638087" cy="2105025"/>
                </a:xfrm>
                <a:prstGeom prst="ellipse">
                  <a:avLst/>
                </a:prstGeom>
                <a:solidFill>
                  <a:srgbClr val="FFFFFF">
                    <a:shade val="85000"/>
                  </a:srgbClr>
                </a:solidFill>
                <a:ln w="88900" cap="sq">
                  <a:solidFill>
                    <a:srgbClr val="FFFFFF"/>
                  </a:solidFill>
                  <a:miter lim="800000"/>
                </a:ln>
                <a:effectLst>
                  <a:outerShdw blurRad="55000" dist="18000" dir="5400000" algn="tl" rotWithShape="0">
                    <a:srgbClr val="000000">
                      <a:alpha val="40000"/>
                    </a:srgbClr>
                  </a:outerShdw>
                </a:effectLst>
                <a:scene3d>
                  <a:camera prst="orthographicFront"/>
                  <a:lightRig rig="twoPt" dir="t">
                    <a:rot lat="0" lon="0" rev="7200000"/>
                  </a:lightRig>
                </a:scene3d>
                <a:sp3d>
                  <a:bevelT w="25400" h="19050"/>
                  <a:contourClr>
                    <a:srgbClr val="FFFFFF"/>
                  </a:contourClr>
                </a:sp3d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="horz" wrap="square" lIns="91440" tIns="45720" rIns="91440" bIns="45720" numCol="1" rtlCol="0" anchor="b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buNone/>
                  </a:pPr>
                  <a:endParaRPr lang="it-IT" sz="1400" smtClean="0">
                    <a:solidFill>
                      <a:schemeClr val="tx1"/>
                    </a:solidFill>
                    <a:latin typeface="Interstate-Light" pitchFamily="2" charset="0"/>
                  </a:endParaRPr>
                </a:p>
              </p:txBody>
            </p:sp>
            <p:pic>
              <p:nvPicPr>
                <p:cNvPr id="26" name="Picture 16"/>
                <p:cNvPicPr>
                  <a:picLocks noChangeAspect="1" noChangeArrowheads="1"/>
                </p:cNvPicPr>
                <p:nvPr/>
              </p:nvPicPr>
              <p:blipFill>
                <a:blip r:embed="rId17" cstate="print"/>
                <a:srcRect/>
                <a:stretch>
                  <a:fillRect/>
                </a:stretch>
              </p:blipFill>
              <p:spPr bwMode="auto">
                <a:xfrm>
                  <a:off x="1830161" y="3945392"/>
                  <a:ext cx="864935" cy="378957"/>
                </a:xfrm>
                <a:prstGeom prst="rect">
                  <a:avLst/>
                </a:prstGeom>
                <a:ln>
                  <a:headEnd/>
                  <a:tailEnd/>
                </a:ln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pic>
              <p:nvPicPr>
                <p:cNvPr id="6" name="Picture 2"/>
                <p:cNvPicPr>
                  <a:picLocks noChangeAspect="1" noChangeArrowheads="1"/>
                </p:cNvPicPr>
                <p:nvPr/>
              </p:nvPicPr>
              <p:blipFill>
                <a:blip r:embed="rId18" cstate="print"/>
                <a:srcRect/>
                <a:stretch>
                  <a:fillRect/>
                </a:stretch>
              </p:blipFill>
              <p:spPr bwMode="auto">
                <a:xfrm>
                  <a:off x="1866897" y="4294043"/>
                  <a:ext cx="885827" cy="563708"/>
                </a:xfrm>
                <a:prstGeom prst="rect">
                  <a:avLst/>
                </a:prstGeom>
                <a:ln>
                  <a:headEnd/>
                  <a:tailEnd/>
                </a:ln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pic>
              <p:nvPicPr>
                <p:cNvPr id="7" name="Picture 2" descr="C:\Users\groda\Pictures\Logos\flickr.png"/>
                <p:cNvPicPr>
                  <a:picLocks noChangeAspect="1" noChangeArrowheads="1"/>
                </p:cNvPicPr>
                <p:nvPr/>
              </p:nvPicPr>
              <p:blipFill>
                <a:blip r:embed="rId19" cstate="print"/>
                <a:srcRect/>
                <a:stretch>
                  <a:fillRect/>
                </a:stretch>
              </p:blipFill>
              <p:spPr bwMode="auto">
                <a:xfrm>
                  <a:off x="2038350" y="4865688"/>
                  <a:ext cx="794813" cy="315912"/>
                </a:xfrm>
                <a:prstGeom prst="rect">
                  <a:avLst/>
                </a:prstGeom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pic>
              <p:nvPicPr>
                <p:cNvPr id="33" name="Picture 13" descr="telepresence3000"/>
                <p:cNvPicPr>
                  <a:picLocks noChangeAspect="1" noChangeArrowheads="1"/>
                </p:cNvPicPr>
                <p:nvPr/>
              </p:nvPicPr>
              <p:blipFill>
                <a:blip r:embed="rId20" cstate="print"/>
                <a:srcRect/>
                <a:stretch>
                  <a:fillRect/>
                </a:stretch>
              </p:blipFill>
              <p:spPr bwMode="auto">
                <a:xfrm>
                  <a:off x="706658" y="4953000"/>
                  <a:ext cx="936089" cy="752474"/>
                </a:xfrm>
                <a:prstGeom prst="rect">
                  <a:avLst/>
                </a:prstGeom>
                <a:solidFill>
                  <a:schemeClr val="bg1"/>
                </a:solidFill>
                <a:ln>
                  <a:headEnd/>
                  <a:tailEnd/>
                </a:ln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pic>
              <p:nvPicPr>
                <p:cNvPr id="4" name="Picture 1"/>
                <p:cNvPicPr>
                  <a:picLocks noChangeAspect="1" noChangeArrowheads="1"/>
                </p:cNvPicPr>
                <p:nvPr/>
              </p:nvPicPr>
              <p:blipFill>
                <a:blip r:embed="rId21" cstate="print"/>
                <a:srcRect/>
                <a:stretch>
                  <a:fillRect/>
                </a:stretch>
              </p:blipFill>
              <p:spPr bwMode="auto">
                <a:xfrm>
                  <a:off x="857250" y="4777057"/>
                  <a:ext cx="1104900" cy="328343"/>
                </a:xfrm>
                <a:prstGeom prst="rect">
                  <a:avLst/>
                </a:prstGeom>
                <a:ln>
                  <a:headEnd/>
                  <a:tailEnd/>
                </a:ln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grpSp>
              <p:nvGrpSpPr>
                <p:cNvPr id="34" name="Group 13"/>
                <p:cNvGrpSpPr>
                  <a:grpSpLocks noChangeAspect="1"/>
                </p:cNvGrpSpPr>
                <p:nvPr/>
              </p:nvGrpSpPr>
              <p:grpSpPr bwMode="auto">
                <a:xfrm>
                  <a:off x="1546236" y="5037151"/>
                  <a:ext cx="553163" cy="849646"/>
                  <a:chOff x="6253163" y="1600200"/>
                  <a:chExt cx="2890837" cy="4419600"/>
                </a:xfrm>
                <a:solidFill>
                  <a:schemeClr val="bg1"/>
                </a:solidFill>
              </p:grpSpPr>
              <p:grpSp>
                <p:nvGrpSpPr>
                  <p:cNvPr id="35" name="Group 3"/>
                  <p:cNvGrpSpPr>
                    <a:grpSpLocks/>
                  </p:cNvGrpSpPr>
                  <p:nvPr/>
                </p:nvGrpSpPr>
                <p:grpSpPr bwMode="auto">
                  <a:xfrm>
                    <a:off x="6253163" y="1600200"/>
                    <a:ext cx="2890837" cy="4419600"/>
                    <a:chOff x="1238" y="-34"/>
                    <a:chExt cx="3053" cy="4553"/>
                  </a:xfrm>
                  <a:grpFill/>
                </p:grpSpPr>
                <p:pic>
                  <p:nvPicPr>
                    <p:cNvPr id="37" name="Picture 3" descr="blackberry_bold_lg.png"/>
                    <p:cNvPicPr>
                      <a:picLocks noChangeAspect="1"/>
                    </p:cNvPicPr>
                    <p:nvPr/>
                  </p:nvPicPr>
                  <p:blipFill>
                    <a:blip r:embed="rId22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238" y="-34"/>
                      <a:ext cx="3053" cy="4553"/>
                    </a:xfrm>
                    <a:prstGeom prst="rect">
                      <a:avLst/>
                    </a:prstGeom>
                    <a:grpFill/>
                  </p:spPr>
                  <p:style>
                    <a:lnRef idx="1">
                      <a:schemeClr val="accent3"/>
                    </a:lnRef>
                    <a:fillRef idx="3">
                      <a:schemeClr val="accent3"/>
                    </a:fillRef>
                    <a:effectRef idx="2">
                      <a:schemeClr val="accent3"/>
                    </a:effectRef>
                    <a:fontRef idx="minor">
                      <a:schemeClr val="lt1"/>
                    </a:fontRef>
                  </p:style>
                </p:pic>
                <p:pic>
                  <p:nvPicPr>
                    <p:cNvPr id="38" name="Picture 4" descr="bbscreen[12]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23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1785" y="828"/>
                      <a:ext cx="2093" cy="1398"/>
                    </a:xfrm>
                    <a:prstGeom prst="rect">
                      <a:avLst/>
                    </a:prstGeom>
                    <a:grpFill/>
                  </p:spPr>
                  <p:style>
                    <a:lnRef idx="1">
                      <a:schemeClr val="accent3"/>
                    </a:lnRef>
                    <a:fillRef idx="3">
                      <a:schemeClr val="accent3"/>
                    </a:fillRef>
                    <a:effectRef idx="2">
                      <a:schemeClr val="accent3"/>
                    </a:effectRef>
                    <a:fontRef idx="minor">
                      <a:schemeClr val="lt1"/>
                    </a:fontRef>
                  </p:style>
                </p:pic>
              </p:grpSp>
              <p:pic>
                <p:nvPicPr>
                  <p:cNvPr id="36" name="Picture 12"/>
                  <p:cNvPicPr>
                    <a:picLocks noChangeAspect="1"/>
                  </p:cNvPicPr>
                  <p:nvPr/>
                </p:nvPicPr>
                <p:blipFill>
                  <a:blip r:embed="rId24" cstate="print"/>
                  <a:srcRect/>
                  <a:stretch>
                    <a:fillRect/>
                  </a:stretch>
                </p:blipFill>
                <p:spPr bwMode="auto">
                  <a:xfrm>
                    <a:off x="6705600" y="2438400"/>
                    <a:ext cx="2057400" cy="1397000"/>
                  </a:xfrm>
                  <a:prstGeom prst="rect">
                    <a:avLst/>
                  </a:prstGeom>
                  <a:grpFill/>
                </p:spPr>
                <p:style>
                  <a:lnRef idx="1">
                    <a:schemeClr val="accent3"/>
                  </a:lnRef>
                  <a:fillRef idx="3">
                    <a:schemeClr val="accent3"/>
                  </a:fillRef>
                  <a:effectRef idx="2">
                    <a:schemeClr val="accent3"/>
                  </a:effectRef>
                  <a:fontRef idx="minor">
                    <a:schemeClr val="lt1"/>
                  </a:fontRef>
                </p:style>
              </p:pic>
            </p:grpSp>
            <p:pic>
              <p:nvPicPr>
                <p:cNvPr id="5" name="Picture 1" descr="C:\Users\groda\Pictures\Apparati\HtcAndroid.PNG"/>
                <p:cNvPicPr>
                  <a:picLocks noChangeAspect="1" noChangeArrowheads="1"/>
                </p:cNvPicPr>
                <p:nvPr/>
              </p:nvPicPr>
              <p:blipFill>
                <a:blip r:embed="rId25" cstate="print"/>
                <a:srcRect/>
                <a:stretch>
                  <a:fillRect/>
                </a:stretch>
              </p:blipFill>
              <p:spPr bwMode="auto">
                <a:xfrm>
                  <a:off x="400050" y="4333875"/>
                  <a:ext cx="445168" cy="912782"/>
                </a:xfrm>
                <a:prstGeom prst="rect">
                  <a:avLst/>
                </a:prstGeom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pic>
              <p:nvPicPr>
                <p:cNvPr id="189451" name="Picture 11" descr="C:\Users\groda\Pictures\Logos\YouTube.png"/>
                <p:cNvPicPr>
                  <a:picLocks noChangeAspect="1" noChangeArrowheads="1"/>
                </p:cNvPicPr>
                <p:nvPr/>
              </p:nvPicPr>
              <p:blipFill>
                <a:blip r:embed="rId26" cstate="print"/>
                <a:srcRect/>
                <a:stretch>
                  <a:fillRect/>
                </a:stretch>
              </p:blipFill>
              <p:spPr bwMode="auto">
                <a:xfrm>
                  <a:off x="2031299" y="5190183"/>
                  <a:ext cx="824770" cy="399631"/>
                </a:xfrm>
                <a:prstGeom prst="rect">
                  <a:avLst/>
                </a:prstGeom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pic>
              <p:nvPicPr>
                <p:cNvPr id="169988" name="Picture 4"/>
                <p:cNvPicPr>
                  <a:picLocks noChangeAspect="1" noChangeArrowheads="1"/>
                </p:cNvPicPr>
                <p:nvPr/>
              </p:nvPicPr>
              <p:blipFill>
                <a:blip r:embed="rId27" cstate="print"/>
                <a:srcRect/>
                <a:stretch>
                  <a:fillRect/>
                </a:stretch>
              </p:blipFill>
              <p:spPr bwMode="auto">
                <a:xfrm>
                  <a:off x="753207" y="3971925"/>
                  <a:ext cx="685067" cy="809624"/>
                </a:xfrm>
                <a:prstGeom prst="rect">
                  <a:avLst/>
                </a:prstGeom>
                <a:ln>
                  <a:headEnd/>
                  <a:tailEnd/>
                </a:ln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  <p:pic>
              <p:nvPicPr>
                <p:cNvPr id="169986" name="Picture 2" descr="C:\Users\groda\Pictures\Apparati\iphone.PNG"/>
                <p:cNvPicPr preferRelativeResize="0">
                  <a:picLocks noChangeAspect="1" noChangeArrowheads="1"/>
                </p:cNvPicPr>
                <p:nvPr/>
              </p:nvPicPr>
              <p:blipFill>
                <a:blip r:embed="rId28" cstate="print"/>
                <a:srcRect/>
                <a:stretch>
                  <a:fillRect/>
                </a:stretch>
              </p:blipFill>
              <p:spPr bwMode="auto">
                <a:xfrm>
                  <a:off x="1344017" y="3848102"/>
                  <a:ext cx="496315" cy="930117"/>
                </a:xfrm>
                <a:prstGeom prst="rect">
                  <a:avLst/>
                </a:prstGeom>
              </p:spPr>
              <p:style>
                <a:lnRef idx="1">
                  <a:schemeClr val="accent3"/>
                </a:lnRef>
                <a:fillRef idx="3">
                  <a:schemeClr val="accent3"/>
                </a:fillRef>
                <a:effectRef idx="2">
                  <a:schemeClr val="accent3"/>
                </a:effectRef>
                <a:fontRef idx="minor">
                  <a:schemeClr val="lt1"/>
                </a:fontRef>
              </p:style>
            </p:pic>
          </p:grpSp>
          <p:sp>
            <p:nvSpPr>
              <p:cNvPr id="52" name="Rectangle 51"/>
              <p:cNvSpPr/>
              <p:nvPr/>
            </p:nvSpPr>
            <p:spPr>
              <a:xfrm rot="20525160">
                <a:off x="2328964" y="5462979"/>
                <a:ext cx="1770070" cy="345283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ChevronInverted">
                  <a:avLst>
                    <a:gd name="adj" fmla="val 59104"/>
                  </a:avLst>
                </a:prstTxWarp>
                <a:spAutoFit/>
              </a:bodyPr>
              <a:lstStyle/>
              <a:p>
                <a:pPr algn="ctr"/>
                <a:r>
                  <a:rPr lang="en-US" sz="5400" b="1" dirty="0" smtClean="0">
                    <a:ln w="1905"/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</a:rPr>
                  <a:t>ICT, </a:t>
                </a:r>
                <a:r>
                  <a:rPr lang="en-US" sz="5400" b="1" dirty="0" err="1" smtClean="0">
                    <a:ln w="1905"/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</a:rPr>
                  <a:t>pervasiva</a:t>
                </a:r>
                <a:r>
                  <a:rPr lang="en-US" sz="5400" b="1" dirty="0" smtClean="0">
                    <a:ln w="1905"/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</a:rPr>
                  <a:t>, mobile e “affordable”</a:t>
                </a:r>
              </a:p>
            </p:txBody>
          </p:sp>
        </p:grpSp>
        <p:pic>
          <p:nvPicPr>
            <p:cNvPr id="132097" name="Picture 1" descr="C:\Users\groda\Pictures\Logos\XBOX.PNG"/>
            <p:cNvPicPr>
              <a:picLocks noChangeAspect="1" noChangeArrowheads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609601" y="3757838"/>
              <a:ext cx="823913" cy="274638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</p:pic>
      </p:grpSp>
      <p:grpSp>
        <p:nvGrpSpPr>
          <p:cNvPr id="56" name="Group 55"/>
          <p:cNvGrpSpPr/>
          <p:nvPr/>
        </p:nvGrpSpPr>
        <p:grpSpPr>
          <a:xfrm>
            <a:off x="4487670" y="1258115"/>
            <a:ext cx="5004677" cy="2060743"/>
            <a:chOff x="4487670" y="1258115"/>
            <a:chExt cx="5004677" cy="2060743"/>
          </a:xfrm>
        </p:grpSpPr>
        <p:pic>
          <p:nvPicPr>
            <p:cNvPr id="132098" name="Picture 2"/>
            <p:cNvPicPr>
              <a:picLocks noChangeAspect="1" noChangeArrowheads="1"/>
            </p:cNvPicPr>
            <p:nvPr/>
          </p:nvPicPr>
          <p:blipFill>
            <a:blip r:embed="rId30" cstate="print"/>
            <a:stretch>
              <a:fillRect/>
            </a:stretch>
          </p:blipFill>
          <p:spPr bwMode="auto">
            <a:xfrm>
              <a:off x="6736220" y="1296217"/>
              <a:ext cx="2756127" cy="2022641"/>
            </a:xfrm>
            <a:prstGeom prst="rect">
              <a:avLst/>
            </a:prstGeom>
            <a:ln w="60325" cap="sq" cmpd="thickThin">
              <a:solidFill>
                <a:srgbClr val="002060"/>
              </a:solidFill>
              <a:prstDash val="solid"/>
              <a:miter lim="800000"/>
            </a:ln>
            <a:effectLst>
              <a:innerShdw blurRad="76200">
                <a:srgbClr val="000000"/>
              </a:innerShdw>
            </a:effectLst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</p:pic>
        <p:grpSp>
          <p:nvGrpSpPr>
            <p:cNvPr id="55" name="Group 54"/>
            <p:cNvGrpSpPr/>
            <p:nvPr/>
          </p:nvGrpSpPr>
          <p:grpSpPr>
            <a:xfrm>
              <a:off x="4487670" y="1258115"/>
              <a:ext cx="2273984" cy="874713"/>
              <a:chOff x="4487670" y="1222943"/>
              <a:chExt cx="2273984" cy="874713"/>
            </a:xfrm>
          </p:grpSpPr>
          <p:pic>
            <p:nvPicPr>
              <p:cNvPr id="53" name="Picture 12" descr="C:\Users\groda\Desktop\Picture2.png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 rot="20403926">
                <a:off x="4487670" y="1222943"/>
                <a:ext cx="2273984" cy="874713"/>
              </a:xfrm>
              <a:prstGeom prst="rect">
                <a:avLst/>
              </a:prstGeom>
              <a:noFill/>
            </p:spPr>
          </p:pic>
          <p:sp>
            <p:nvSpPr>
              <p:cNvPr id="54" name="Rectangle 53"/>
              <p:cNvSpPr/>
              <p:nvPr/>
            </p:nvSpPr>
            <p:spPr>
              <a:xfrm rot="20944733">
                <a:off x="4903930" y="1444262"/>
                <a:ext cx="1486637" cy="254311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prstTxWarp prst="textChevron">
                  <a:avLst>
                    <a:gd name="adj" fmla="val 38273"/>
                  </a:avLst>
                </a:prstTxWarp>
                <a:spAutoFit/>
              </a:bodyPr>
              <a:lstStyle/>
              <a:p>
                <a:pPr algn="ctr"/>
                <a:r>
                  <a:rPr lang="en-US" sz="5400" b="1" dirty="0" err="1" smtClean="0">
                    <a:ln w="1905"/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</a:rPr>
                  <a:t>Pressione</a:t>
                </a:r>
                <a:r>
                  <a:rPr lang="en-US" sz="5400" b="1" dirty="0" smtClean="0">
                    <a:ln w="1905"/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</a:rPr>
                  <a:t> </a:t>
                </a:r>
                <a:r>
                  <a:rPr lang="en-US" sz="5400" b="1" dirty="0" err="1" smtClean="0">
                    <a:ln w="1905"/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</a:rPr>
                  <a:t>sull’infrastruttura</a:t>
                </a:r>
                <a:endParaRPr lang="en-US" sz="5400" b="1" dirty="0">
                  <a:ln w="1905"/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endParaRPr>
              </a:p>
            </p:txBody>
          </p:sp>
        </p:grpSp>
      </p:grpSp>
      <p:grpSp>
        <p:nvGrpSpPr>
          <p:cNvPr id="97" name="Group 96"/>
          <p:cNvGrpSpPr/>
          <p:nvPr/>
        </p:nvGrpSpPr>
        <p:grpSpPr>
          <a:xfrm>
            <a:off x="4311124" y="3753293"/>
            <a:ext cx="5151854" cy="2261267"/>
            <a:chOff x="4311124" y="3753293"/>
            <a:chExt cx="5151854" cy="2261267"/>
          </a:xfrm>
        </p:grpSpPr>
        <p:grpSp>
          <p:nvGrpSpPr>
            <p:cNvPr id="68" name="Group 67"/>
            <p:cNvGrpSpPr/>
            <p:nvPr/>
          </p:nvGrpSpPr>
          <p:grpSpPr>
            <a:xfrm rot="257736">
              <a:off x="4311124" y="4850289"/>
              <a:ext cx="2314135" cy="1164271"/>
              <a:chOff x="4204794" y="4803559"/>
              <a:chExt cx="2314135" cy="1164271"/>
            </a:xfrm>
          </p:grpSpPr>
          <p:pic>
            <p:nvPicPr>
              <p:cNvPr id="66" name="Picture 8" descr="C:\Users\groda\Desktop\Picture1.png"/>
              <p:cNvPicPr>
                <a:picLocks noChangeAspect="1" noChangeArrowheads="1"/>
              </p:cNvPicPr>
              <p:nvPr/>
            </p:nvPicPr>
            <p:blipFill>
              <a:blip r:embed="rId16" cstate="print"/>
              <a:stretch>
                <a:fillRect/>
              </a:stretch>
            </p:blipFill>
            <p:spPr bwMode="auto">
              <a:xfrm rot="1487628">
                <a:off x="4204794" y="4803559"/>
                <a:ext cx="2314135" cy="1164271"/>
              </a:xfrm>
              <a:prstGeom prst="rect">
                <a:avLst/>
              </a:prstGeom>
              <a:noFill/>
            </p:spPr>
          </p:pic>
          <p:sp>
            <p:nvSpPr>
              <p:cNvPr id="67" name="Rectangle 66"/>
              <p:cNvSpPr/>
              <p:nvPr/>
            </p:nvSpPr>
            <p:spPr>
              <a:xfrm rot="671457">
                <a:off x="4632523" y="5320337"/>
                <a:ext cx="1599276" cy="245454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 anchor="ctr" anchorCtr="0">
                <a:prstTxWarp prst="textChevronInverted">
                  <a:avLst>
                    <a:gd name="adj" fmla="val 53547"/>
                  </a:avLst>
                </a:prstTxWarp>
                <a:spAutoFit/>
              </a:bodyPr>
              <a:lstStyle/>
              <a:p>
                <a:pPr algn="ctr"/>
                <a:r>
                  <a:rPr lang="it-IT" sz="900" b="1" dirty="0" smtClean="0">
                    <a:ln w="1905"/>
                    <a:effectLst>
                      <a:innerShdw blurRad="69850" dist="43180" dir="5400000">
                        <a:srgbClr val="000000">
                          <a:alpha val="65000"/>
                        </a:srgbClr>
                      </a:innerShdw>
                    </a:effectLst>
                  </a:rPr>
                  <a:t>Pressione sull’offerta di servizi</a:t>
                </a:r>
                <a:endParaRPr lang="it-IT" sz="900" b="1" dirty="0">
                  <a:ln w="1905"/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endParaRPr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>
              <a:off x="6719776" y="3753293"/>
              <a:ext cx="2743202" cy="2136257"/>
              <a:chOff x="6719776" y="3753293"/>
              <a:chExt cx="2743202" cy="2136257"/>
            </a:xfrm>
          </p:grpSpPr>
          <p:sp>
            <p:nvSpPr>
              <p:cNvPr id="65" name="Rounded Rectangle 64"/>
              <p:cNvSpPr/>
              <p:nvPr/>
            </p:nvSpPr>
            <p:spPr>
              <a:xfrm>
                <a:off x="6719776" y="3753293"/>
                <a:ext cx="2743202" cy="2062716"/>
              </a:xfrm>
              <a:prstGeom prst="roundRect">
                <a:avLst/>
              </a:prstGeom>
              <a:solidFill>
                <a:srgbClr val="FFFFFF">
                  <a:shade val="85000"/>
                </a:srgbClr>
              </a:solidFill>
              <a:ln w="88900" cap="sq">
                <a:solidFill>
                  <a:srgbClr val="FFFFFF"/>
                </a:solidFill>
                <a:miter lim="800000"/>
              </a:ln>
              <a:effectLst>
                <a:outerShdw blurRad="55000" dist="18000" dir="54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b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it-IT" sz="1400" smtClean="0">
                  <a:solidFill>
                    <a:schemeClr val="tx1"/>
                  </a:solidFill>
                  <a:latin typeface="Interstate-Light" pitchFamily="2" charset="0"/>
                </a:endParaRPr>
              </a:p>
            </p:txBody>
          </p:sp>
          <p:pic>
            <p:nvPicPr>
              <p:cNvPr id="132104" name="Picture 8"/>
              <p:cNvPicPr>
                <a:picLocks noChangeAspect="1" noChangeArrowheads="1"/>
              </p:cNvPicPr>
              <p:nvPr/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7793179" y="5284382"/>
                <a:ext cx="751455" cy="478465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50800" cap="sq">
                <a:solidFill>
                  <a:schemeClr val="bg1">
                    <a:lumMod val="85000"/>
                  </a:schemeClr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132105" name="Picture 9"/>
              <p:cNvPicPr>
                <a:picLocks noChangeAspect="1" noChangeArrowheads="1"/>
              </p:cNvPicPr>
              <p:nvPr/>
            </p:nvPicPr>
            <p:blipFill>
              <a:blip r:embed="rId32" cstate="print"/>
              <a:srcRect/>
              <a:stretch>
                <a:fillRect/>
              </a:stretch>
            </p:blipFill>
            <p:spPr bwMode="auto">
              <a:xfrm>
                <a:off x="7456112" y="3824781"/>
                <a:ext cx="1896888" cy="300647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50800" cap="sq">
                <a:solidFill>
                  <a:schemeClr val="bg1">
                    <a:lumMod val="85000"/>
                  </a:schemeClr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</p:pic>
          <p:pic>
            <p:nvPicPr>
              <p:cNvPr id="132108" name="Picture 12" descr="C:\Users\groda\AppData\Local\Temp\Rar$DI00.683\cell_PNG.png"/>
              <p:cNvPicPr>
                <a:picLocks noChangeAspect="1" noChangeArrowheads="1"/>
              </p:cNvPicPr>
              <p:nvPr/>
            </p:nvPicPr>
            <p:blipFill>
              <a:blip r:embed="rId33" cstate="print"/>
              <a:srcRect/>
              <a:stretch>
                <a:fillRect/>
              </a:stretch>
            </p:blipFill>
            <p:spPr bwMode="auto">
              <a:xfrm>
                <a:off x="7084830" y="5273759"/>
                <a:ext cx="615791" cy="61579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2109" name="Picture 13" descr="C:\Users\groda\AppData\Local\Temp\Rar$DI00.917\web_PNG.png"/>
              <p:cNvPicPr>
                <a:picLocks noChangeAspect="1" noChangeArrowheads="1"/>
              </p:cNvPicPr>
              <p:nvPr/>
            </p:nvPicPr>
            <p:blipFill>
              <a:blip r:embed="rId34" cstate="print"/>
              <a:srcRect/>
              <a:stretch>
                <a:fillRect/>
              </a:stretch>
            </p:blipFill>
            <p:spPr bwMode="auto">
              <a:xfrm>
                <a:off x="8535611" y="5225348"/>
                <a:ext cx="615791" cy="61579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2110" name="Picture 14" descr="C:\Users\groda\AppData\Local\Temp\Rar$DI01.005\tv_PNG.png"/>
              <p:cNvPicPr>
                <a:picLocks noChangeAspect="1" noChangeArrowheads="1"/>
              </p:cNvPicPr>
              <p:nvPr/>
            </p:nvPicPr>
            <p:blipFill>
              <a:blip r:embed="rId35" cstate="print"/>
              <a:srcRect/>
              <a:stretch>
                <a:fillRect/>
              </a:stretch>
            </p:blipFill>
            <p:spPr bwMode="auto">
              <a:xfrm>
                <a:off x="6845044" y="3758057"/>
                <a:ext cx="615791" cy="61579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2116" name="Picture 20"/>
              <p:cNvPicPr>
                <a:picLocks noChangeAspect="1" noChangeArrowheads="1"/>
              </p:cNvPicPr>
              <p:nvPr/>
            </p:nvPicPr>
            <p:blipFill>
              <a:blip r:embed="rId36" cstate="print"/>
              <a:srcRect/>
              <a:stretch>
                <a:fillRect/>
              </a:stretch>
            </p:blipFill>
            <p:spPr bwMode="auto">
              <a:xfrm>
                <a:off x="6760272" y="5007934"/>
                <a:ext cx="339613" cy="77241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2117" name="Picture 21" descr="C:\Users\groda\Pictures\Apparati\7G.png"/>
              <p:cNvPicPr>
                <a:picLocks noChangeAspect="1" noChangeArrowheads="1"/>
              </p:cNvPicPr>
              <p:nvPr/>
            </p:nvPicPr>
            <p:blipFill>
              <a:blip r:embed="rId37" cstate="print"/>
              <a:srcRect/>
              <a:stretch>
                <a:fillRect/>
              </a:stretch>
            </p:blipFill>
            <p:spPr bwMode="auto">
              <a:xfrm>
                <a:off x="8501933" y="4690067"/>
                <a:ext cx="857664" cy="57305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2107" name="Picture 11" descr="C:\Users\groda\AppData\Local\Temp\Rar$DI00.615\phone_PNG.png"/>
              <p:cNvPicPr>
                <a:picLocks noChangeAspect="1" noChangeArrowheads="1"/>
              </p:cNvPicPr>
              <p:nvPr/>
            </p:nvPicPr>
            <p:blipFill>
              <a:blip r:embed="rId38" cstate="print"/>
              <a:srcRect/>
              <a:stretch>
                <a:fillRect/>
              </a:stretch>
            </p:blipFill>
            <p:spPr bwMode="auto">
              <a:xfrm>
                <a:off x="8835657" y="4175052"/>
                <a:ext cx="615791" cy="61579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2112" name="Picture 16"/>
              <p:cNvPicPr>
                <a:picLocks noChangeAspect="1" noChangeArrowheads="1"/>
              </p:cNvPicPr>
              <p:nvPr/>
            </p:nvPicPr>
            <p:blipFill>
              <a:blip r:embed="rId39" cstate="print"/>
              <a:srcRect/>
              <a:stretch>
                <a:fillRect/>
              </a:stretch>
            </p:blipFill>
            <p:spPr bwMode="auto">
              <a:xfrm>
                <a:off x="7198235" y="4906210"/>
                <a:ext cx="1190847" cy="335532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50800" cap="sq">
                <a:solidFill>
                  <a:schemeClr val="bg1">
                    <a:lumMod val="85000"/>
                  </a:schemeClr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  <p:pic>
            <p:nvPicPr>
              <p:cNvPr id="132118" name="Picture 22" descr="C:\Users\groda\Pictures\Apparati\vsnew.bmp"/>
              <p:cNvPicPr>
                <a:picLocks noChangeAspect="1" noChangeArrowheads="1"/>
              </p:cNvPicPr>
              <p:nvPr/>
            </p:nvPicPr>
            <p:blipFill>
              <a:blip r:embed="rId40" cstate="print"/>
              <a:srcRect/>
              <a:stretch>
                <a:fillRect/>
              </a:stretch>
            </p:blipFill>
            <p:spPr bwMode="auto">
              <a:xfrm>
                <a:off x="6751675" y="4393485"/>
                <a:ext cx="1021344" cy="433696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2106" name="Picture 10"/>
              <p:cNvPicPr>
                <a:picLocks noChangeAspect="1" noChangeArrowheads="1"/>
              </p:cNvPicPr>
              <p:nvPr/>
            </p:nvPicPr>
            <p:blipFill>
              <a:blip r:embed="rId41" cstate="print"/>
              <a:srcRect/>
              <a:stretch>
                <a:fillRect/>
              </a:stretch>
            </p:blipFill>
            <p:spPr bwMode="auto">
              <a:xfrm>
                <a:off x="7808773" y="4221128"/>
                <a:ext cx="931858" cy="624441"/>
              </a:xfrm>
              <a:prstGeom prst="rect">
                <a:avLst/>
              </a:prstGeom>
              <a:solidFill>
                <a:srgbClr val="FFFFFF">
                  <a:shade val="85000"/>
                </a:srgbClr>
              </a:solidFill>
              <a:ln w="50800" cap="sq">
                <a:solidFill>
                  <a:schemeClr val="bg1">
                    <a:lumMod val="85000"/>
                  </a:schemeClr>
                </a:solidFill>
                <a:miter lim="800000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woPt" dir="t">
                  <a:rot lat="0" lon="0" rev="7200000"/>
                </a:lightRig>
              </a:scene3d>
              <a:sp3d>
                <a:bevelT w="25400" h="19050"/>
                <a:contourClr>
                  <a:srgbClr val="FFFFFF"/>
                </a:contourClr>
              </a:sp3d>
            </p:spPr>
          </p:pic>
        </p:grpSp>
      </p:grpSp>
      <p:grpSp>
        <p:nvGrpSpPr>
          <p:cNvPr id="93" name="Group 92"/>
          <p:cNvGrpSpPr/>
          <p:nvPr/>
        </p:nvGrpSpPr>
        <p:grpSpPr>
          <a:xfrm>
            <a:off x="7202657" y="4422666"/>
            <a:ext cx="2585067" cy="1645288"/>
            <a:chOff x="5304284" y="3309482"/>
            <a:chExt cx="2585067" cy="1645288"/>
          </a:xfrm>
        </p:grpSpPr>
        <p:pic>
          <p:nvPicPr>
            <p:cNvPr id="89" name="Picture 2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5304284" y="3309482"/>
              <a:ext cx="2585067" cy="1645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scene3d>
              <a:camera prst="perspectiveContrastingLeftFacing"/>
              <a:lightRig rig="threePt" dir="t"/>
            </a:scene3d>
          </p:spPr>
        </p:pic>
        <p:sp>
          <p:nvSpPr>
            <p:cNvPr id="91" name="Rectangle 90"/>
            <p:cNvSpPr/>
            <p:nvPr/>
          </p:nvSpPr>
          <p:spPr>
            <a:xfrm>
              <a:off x="6454221" y="4506226"/>
              <a:ext cx="1161534" cy="400110"/>
            </a:xfrm>
            <a:prstGeom prst="rect">
              <a:avLst/>
            </a:prstGeom>
            <a:noFill/>
            <a:scene3d>
              <a:camera prst="isometricOffAxis2Left">
                <a:rot lat="1080000" lon="1560000" rev="21180000"/>
              </a:camera>
              <a:lightRig rig="threePt" dir="t"/>
            </a:scene3d>
          </p:spPr>
          <p:txBody>
            <a:bodyPr wrap="square" lIns="91440" tIns="45720" rIns="91440" bIns="45720">
              <a:spAutoFit/>
              <a:scene3d>
                <a:camera prst="orthographicFront"/>
                <a:lightRig rig="flat" dir="t">
                  <a:rot lat="0" lon="0" rev="18900000"/>
                </a:lightRig>
              </a:scene3d>
              <a:sp3d extrusionH="31750" contourW="6350" prstMaterial="powder">
                <a:bevelT w="19050" h="19050" prst="angle"/>
                <a:contourClr>
                  <a:schemeClr val="accent3">
                    <a:tint val="100000"/>
                    <a:shade val="100000"/>
                    <a:satMod val="100000"/>
                    <a:hueMod val="100000"/>
                  </a:schemeClr>
                </a:contourClr>
              </a:sp3d>
            </a:bodyPr>
            <a:lstStyle/>
            <a:p>
              <a:pPr algn="ctr"/>
              <a:r>
                <a:rPr lang="en-US" sz="2000" b="1" dirty="0" smtClean="0">
                  <a:ln/>
                  <a:solidFill>
                    <a:srgbClr val="7030A0"/>
                  </a:solidFill>
                </a:rPr>
                <a:t>ARPU</a:t>
              </a:r>
              <a:endParaRPr lang="en-US" sz="2000" b="1" dirty="0">
                <a:ln/>
                <a:solidFill>
                  <a:srgbClr val="7030A0"/>
                </a:solidFill>
              </a:endParaRP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7238027" y="2003099"/>
            <a:ext cx="2580661" cy="1658257"/>
            <a:chOff x="6042225" y="3881597"/>
            <a:chExt cx="2580661" cy="1658257"/>
          </a:xfrm>
        </p:grpSpPr>
        <p:pic>
          <p:nvPicPr>
            <p:cNvPr id="94" name="Picture 4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6042225" y="3881597"/>
              <a:ext cx="2580661" cy="1658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scene3d>
              <a:camera prst="perspectiveContrastingLeftFacing"/>
              <a:lightRig rig="threePt" dir="t"/>
            </a:scene3d>
          </p:spPr>
        </p:pic>
        <p:sp>
          <p:nvSpPr>
            <p:cNvPr id="95" name="Rectangle 94"/>
            <p:cNvSpPr/>
            <p:nvPr/>
          </p:nvSpPr>
          <p:spPr>
            <a:xfrm>
              <a:off x="7163212" y="5105888"/>
              <a:ext cx="1161534" cy="400110"/>
            </a:xfrm>
            <a:prstGeom prst="rect">
              <a:avLst/>
            </a:prstGeom>
            <a:noFill/>
            <a:scene3d>
              <a:camera prst="isometricOffAxis2Left">
                <a:rot lat="1080000" lon="1560000" rev="21180000"/>
              </a:camera>
              <a:lightRig rig="threePt" dir="t"/>
            </a:scene3d>
          </p:spPr>
          <p:txBody>
            <a:bodyPr wrap="square" lIns="91440" tIns="45720" rIns="91440" bIns="45720">
              <a:spAutoFit/>
              <a:scene3d>
                <a:camera prst="orthographicFront"/>
                <a:lightRig rig="flat" dir="t">
                  <a:rot lat="0" lon="0" rev="18900000"/>
                </a:lightRig>
              </a:scene3d>
              <a:sp3d extrusionH="31750" contourW="6350" prstMaterial="powder">
                <a:bevelT w="19050" h="19050" prst="angle"/>
                <a:contourClr>
                  <a:schemeClr val="accent3">
                    <a:tint val="100000"/>
                    <a:shade val="100000"/>
                    <a:satMod val="100000"/>
                    <a:hueMod val="100000"/>
                  </a:schemeClr>
                </a:contourClr>
              </a:sp3d>
            </a:bodyPr>
            <a:lstStyle/>
            <a:p>
              <a:pPr algn="ctr"/>
              <a:r>
                <a:rPr lang="en-US" sz="2000" b="1" dirty="0" smtClean="0">
                  <a:ln/>
                  <a:solidFill>
                    <a:srgbClr val="7030A0"/>
                  </a:solidFill>
                </a:rPr>
                <a:t>CAPEX</a:t>
              </a:r>
              <a:endParaRPr lang="en-US" sz="2000" b="1" dirty="0">
                <a:ln/>
                <a:solidFill>
                  <a:srgbClr val="7030A0"/>
                </a:solidFill>
              </a:endParaRPr>
            </a:p>
          </p:txBody>
        </p:sp>
      </p:grpSp>
      <p:grpSp>
        <p:nvGrpSpPr>
          <p:cNvPr id="3" name="Group 21"/>
          <p:cNvGrpSpPr/>
          <p:nvPr/>
        </p:nvGrpSpPr>
        <p:grpSpPr>
          <a:xfrm>
            <a:off x="3336463" y="1962150"/>
            <a:ext cx="2869784" cy="3155875"/>
            <a:chOff x="3285459" y="1850065"/>
            <a:chExt cx="2998381" cy="3583172"/>
          </a:xfrm>
        </p:grpSpPr>
        <p:sp>
          <p:nvSpPr>
            <p:cNvPr id="13" name="Rectangle 12"/>
            <p:cNvSpPr/>
            <p:nvPr/>
          </p:nvSpPr>
          <p:spPr bwMode="auto">
            <a:xfrm>
              <a:off x="3285459" y="1850065"/>
              <a:ext cx="2998381" cy="3583172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4BF17"/>
                </a:buClr>
                <a:buSzPct val="40000"/>
                <a:buNone/>
                <a:tabLst/>
              </a:pPr>
              <a:r>
                <a:rPr kumimoji="0" lang="it-IT" sz="1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Interstate-Light" pitchFamily="2" charset="0"/>
                </a:rPr>
                <a:t>Clienti</a:t>
              </a:r>
            </a:p>
          </p:txBody>
        </p:sp>
        <p:pic>
          <p:nvPicPr>
            <p:cNvPr id="189444" name="Picture 4" descr="C:\Users\groda\Pictures\Microsoft Clip Organizer\Office5.jpg"/>
            <p:cNvPicPr>
              <a:picLocks noChangeAspect="1" noChangeArrowheads="1"/>
            </p:cNvPicPr>
            <p:nvPr/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3367900" y="1973963"/>
              <a:ext cx="1221184" cy="1876661"/>
            </a:xfrm>
            <a:prstGeom prst="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pic>
        <p:pic>
          <p:nvPicPr>
            <p:cNvPr id="189445" name="Picture 5" descr="C:\Users\groda\Pictures\Microsoft Clip Organizer\Office9.jpg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3376425" y="3817171"/>
              <a:ext cx="1607891" cy="1318319"/>
            </a:xfrm>
            <a:prstGeom prst="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pic>
        <p:pic>
          <p:nvPicPr>
            <p:cNvPr id="189448" name="Picture 8" descr="C:\Users\groda\Desktop\Social1.jpg"/>
            <p:cNvPicPr>
              <a:picLocks noChangeAspect="1" noChangeArrowheads="1"/>
            </p:cNvPicPr>
            <p:nvPr/>
          </p:nvPicPr>
          <p:blipFill>
            <a:blip r:embed="rId46" cstate="print"/>
            <a:srcRect/>
            <a:stretch>
              <a:fillRect/>
            </a:stretch>
          </p:blipFill>
          <p:spPr bwMode="auto">
            <a:xfrm>
              <a:off x="4583491" y="1893378"/>
              <a:ext cx="1606462" cy="1640927"/>
            </a:xfrm>
            <a:prstGeom prst="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pic>
        <p:pic>
          <p:nvPicPr>
            <p:cNvPr id="189450" name="Picture 10" descr="C:\Users\groda\Desktop\Ipod2.jpg"/>
            <p:cNvPicPr>
              <a:picLocks noChangeAspect="1" noChangeArrowheads="1"/>
            </p:cNvPicPr>
            <p:nvPr/>
          </p:nvPicPr>
          <p:blipFill>
            <a:blip r:embed="rId47" cstate="print"/>
            <a:srcRect/>
            <a:stretch>
              <a:fillRect/>
            </a:stretch>
          </p:blipFill>
          <p:spPr bwMode="auto">
            <a:xfrm>
              <a:off x="4811641" y="3872250"/>
              <a:ext cx="1258385" cy="1285633"/>
            </a:xfrm>
            <a:prstGeom prst="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pic>
        <p:pic>
          <p:nvPicPr>
            <p:cNvPr id="189446" name="Picture 6" descr="C:\Users\groda\Pictures\Microsoft Clip Organizer\Talk1.jpg"/>
            <p:cNvPicPr>
              <a:picLocks noChangeAspect="1" noChangeArrowheads="1"/>
            </p:cNvPicPr>
            <p:nvPr/>
          </p:nvPicPr>
          <p:blipFill>
            <a:blip r:embed="rId48" cstate="print"/>
            <a:srcRect/>
            <a:stretch>
              <a:fillRect/>
            </a:stretch>
          </p:blipFill>
          <p:spPr bwMode="auto">
            <a:xfrm>
              <a:off x="4526003" y="3032788"/>
              <a:ext cx="1611754" cy="1097109"/>
            </a:xfrm>
            <a:prstGeom prst="rect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</p:pic>
      </p:grpSp>
      <p:sp>
        <p:nvSpPr>
          <p:cNvPr id="77" name="Slide Number Placeholder 7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4</a:t>
            </a:fld>
            <a:endParaRPr lang="it-IT" sz="1400">
              <a:latin typeface="Times New Roman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5" descr="C:\Users\groda\Pictures\Microsoft Clip Organizer\Ricerca10.jpg"/>
          <p:cNvPicPr preferRelativeResize="0">
            <a:picLocks noGrp="1" noChangeAspect="1" noChangeArrowheads="1"/>
          </p:cNvPicPr>
          <p:nvPr>
            <p:ph type="pic" idx="1"/>
          </p:nvPr>
        </p:nvPicPr>
        <p:blipFill>
          <a:blip r:embed="rId2" cstate="print"/>
          <a:srcRect t="10704" b="10704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novazione tecnologica: lo scopo</a:t>
            </a:r>
            <a:endParaRPr lang="it-IT" dirty="0"/>
          </a:p>
        </p:txBody>
      </p:sp>
      <p:grpSp>
        <p:nvGrpSpPr>
          <p:cNvPr id="3" name="Group 12"/>
          <p:cNvGrpSpPr/>
          <p:nvPr/>
        </p:nvGrpSpPr>
        <p:grpSpPr>
          <a:xfrm>
            <a:off x="741332" y="1206486"/>
            <a:ext cx="3840480" cy="4594801"/>
            <a:chOff x="595282" y="1142984"/>
            <a:chExt cx="3840480" cy="4594801"/>
          </a:xfrm>
        </p:grpSpPr>
        <p:pic>
          <p:nvPicPr>
            <p:cNvPr id="180228" name="Picture 4" descr="C:\Users\groda\Pictures\Microsoft Clip Organizer\GoldenVpn2.jpg"/>
            <p:cNvPicPr preferRelativeResize="0"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95282" y="1142984"/>
              <a:ext cx="3840480" cy="3840480"/>
            </a:xfrm>
            <a:prstGeom prst="roundRect">
              <a:avLst>
                <a:gd name="adj" fmla="val 11111"/>
              </a:avLst>
            </a:prstGeom>
            <a:ln w="190500" cap="rnd">
              <a:solidFill>
                <a:srgbClr val="C8C6BD"/>
              </a:solidFill>
              <a:prstDash val="solid"/>
            </a:ln>
            <a:effectLst>
              <a:outerShdw blurRad="101600" dist="50800" dir="7200000" algn="tl" rotWithShape="0">
                <a:srgbClr val="000000">
                  <a:alpha val="45000"/>
                </a:srgbClr>
              </a:outerShdw>
            </a:effectLst>
            <a:scene3d>
              <a:camera prst="perspectiveFront" fov="5400000"/>
              <a:lightRig rig="threePt" dir="t">
                <a:rot lat="0" lon="0" rev="19200000"/>
              </a:lightRig>
            </a:scene3d>
            <a:sp3d extrusionH="25400">
              <a:bevelT w="304800" h="152400" prst="hardEdge"/>
              <a:extrusionClr>
                <a:srgbClr val="FFFFFF"/>
              </a:extrusionClr>
            </a:sp3d>
          </p:spPr>
        </p:pic>
        <p:sp>
          <p:nvSpPr>
            <p:cNvPr id="7" name="Rectangle 6"/>
            <p:cNvSpPr/>
            <p:nvPr/>
          </p:nvSpPr>
          <p:spPr bwMode="auto">
            <a:xfrm>
              <a:off x="780690" y="5161785"/>
              <a:ext cx="3500462" cy="576000"/>
            </a:xfrm>
            <a:prstGeom prst="rect">
              <a:avLst/>
            </a:prstGeom>
            <a:solidFill>
              <a:schemeClr val="bg1"/>
            </a:solidFill>
            <a:ln w="190500" cap="rnd">
              <a:solidFill>
                <a:srgbClr val="C8C6BD"/>
              </a:solidFill>
              <a:prstDash val="solid"/>
            </a:ln>
            <a:effectLst>
              <a:outerShdw blurRad="101600" dist="50800" dir="7200000" algn="tl" rotWithShape="0">
                <a:srgbClr val="000000">
                  <a:alpha val="45000"/>
                </a:srgbClr>
              </a:outerShdw>
            </a:effectLst>
            <a:scene3d>
              <a:camera prst="perspectiveFront" fov="5400000"/>
              <a:lightRig rig="threePt" dir="t">
                <a:rot lat="0" lon="0" rev="19200000"/>
              </a:lightRig>
            </a:scene3d>
            <a:sp3d extrusionH="25400">
              <a:bevelT w="304800" h="152400" prst="hardEdge"/>
              <a:extrusionClr>
                <a:srgbClr val="FFFFFF"/>
              </a:extrusionClr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eaLnBrk="0" latinLnBrk="0" hangingPunct="0">
                <a:lnSpc>
                  <a:spcPct val="10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buNone/>
                <a:tabLst/>
                <a:defRPr/>
              </a:pPr>
              <a:r>
                <a:rPr lang="it-IT" sz="2000" dirty="0" smtClean="0">
                  <a:solidFill>
                    <a:schemeClr val="tx1"/>
                  </a:solidFill>
                  <a:latin typeface="Interstate-Light" pitchFamily="2" charset="0"/>
                </a:rPr>
                <a:t>Sviluppo di nuovi Servizi</a:t>
              </a:r>
            </a:p>
          </p:txBody>
        </p:sp>
      </p:grpSp>
      <p:grpSp>
        <p:nvGrpSpPr>
          <p:cNvPr id="4" name="Group 11"/>
          <p:cNvGrpSpPr/>
          <p:nvPr/>
        </p:nvGrpSpPr>
        <p:grpSpPr>
          <a:xfrm>
            <a:off x="5356228" y="1255850"/>
            <a:ext cx="3840480" cy="4594399"/>
            <a:chOff x="5381628" y="1674949"/>
            <a:chExt cx="3840480" cy="4594399"/>
          </a:xfrm>
        </p:grpSpPr>
        <p:sp>
          <p:nvSpPr>
            <p:cNvPr id="8" name="Rectangle 7"/>
            <p:cNvSpPr/>
            <p:nvPr/>
          </p:nvSpPr>
          <p:spPr bwMode="auto">
            <a:xfrm>
              <a:off x="5556403" y="1674949"/>
              <a:ext cx="3500462" cy="576000"/>
            </a:xfrm>
            <a:prstGeom prst="rect">
              <a:avLst/>
            </a:prstGeom>
            <a:solidFill>
              <a:schemeClr val="bg1"/>
            </a:solidFill>
            <a:ln w="190500" cap="rnd">
              <a:solidFill>
                <a:srgbClr val="C8C6BD"/>
              </a:solidFill>
              <a:prstDash val="solid"/>
            </a:ln>
            <a:effectLst>
              <a:outerShdw blurRad="101600" dist="50800" dir="7200000" algn="tl" rotWithShape="0">
                <a:srgbClr val="000000">
                  <a:alpha val="45000"/>
                </a:srgbClr>
              </a:outerShdw>
            </a:effectLst>
            <a:scene3d>
              <a:camera prst="perspectiveFront" fov="5400000"/>
              <a:lightRig rig="threePt" dir="t">
                <a:rot lat="0" lon="0" rev="19200000"/>
              </a:lightRig>
            </a:scene3d>
            <a:sp3d extrusionH="25400">
              <a:bevelT w="304800" h="152400" prst="hardEdge"/>
              <a:extrusionClr>
                <a:srgbClr val="FFFFFF"/>
              </a:extrusionClr>
            </a:sp3d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defRPr/>
              </a:pPr>
              <a:r>
                <a:rPr lang="it-IT" sz="2000" dirty="0" smtClean="0">
                  <a:solidFill>
                    <a:schemeClr val="tx1"/>
                  </a:solidFill>
                  <a:latin typeface="Interstate-Light" pitchFamily="2" charset="0"/>
                </a:rPr>
                <a:t>Ottimizzazione del TCO</a:t>
              </a:r>
            </a:p>
          </p:txBody>
        </p:sp>
        <p:pic>
          <p:nvPicPr>
            <p:cNvPr id="180227" name="Picture 3" descr="C:\Users\groda\Pictures\Microsoft Clip Organizer\GoldenTrend1.jp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381628" y="2428868"/>
              <a:ext cx="3840480" cy="3840480"/>
            </a:xfrm>
            <a:prstGeom prst="roundRect">
              <a:avLst>
                <a:gd name="adj" fmla="val 11111"/>
              </a:avLst>
            </a:prstGeom>
            <a:ln w="190500" cap="rnd">
              <a:solidFill>
                <a:srgbClr val="C8C6BD"/>
              </a:solidFill>
              <a:prstDash val="solid"/>
            </a:ln>
            <a:effectLst>
              <a:outerShdw blurRad="101600" dist="50800" dir="7200000" algn="tl" rotWithShape="0">
                <a:srgbClr val="000000">
                  <a:alpha val="45000"/>
                </a:srgbClr>
              </a:outerShdw>
            </a:effectLst>
            <a:scene3d>
              <a:camera prst="perspectiveFront" fov="5400000"/>
              <a:lightRig rig="threePt" dir="t">
                <a:rot lat="0" lon="0" rev="19200000"/>
              </a:lightRig>
            </a:scene3d>
            <a:sp3d extrusionH="25400">
              <a:bevelT w="304800" h="152400" prst="hardEdge"/>
              <a:extrusionClr>
                <a:srgbClr val="FFFFFF"/>
              </a:extrusionClr>
            </a:sp3d>
          </p:spPr>
        </p:pic>
      </p:grpSp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5</a:t>
            </a:fld>
            <a:endParaRPr lang="it-IT" sz="1400">
              <a:latin typeface="Times New Roman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Picture Placeholder 155" descr="j0433176.jpg"/>
          <p:cNvPicPr>
            <a:picLocks noGrp="1" noChangeAspect="1"/>
          </p:cNvPicPr>
          <p:nvPr>
            <p:ph type="pic" idx="1"/>
          </p:nvPr>
        </p:nvPicPr>
        <p:blipFill>
          <a:blip r:embed="rId2" cstate="print">
            <a:lum bright="1000"/>
          </a:blip>
          <a:srcRect t="15687" b="15687"/>
          <a:stretch>
            <a:fillRect/>
          </a:stretch>
        </p:blipFill>
        <p:spPr/>
      </p:pic>
      <p:sp>
        <p:nvSpPr>
          <p:cNvPr id="10209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Il dominio dell’innovazione: l’infrastruttura</a:t>
            </a:r>
            <a:endParaRPr lang="en-US" dirty="0"/>
          </a:p>
        </p:txBody>
      </p:sp>
      <p:graphicFrame>
        <p:nvGraphicFramePr>
          <p:cNvPr id="109" name="Diagram 108"/>
          <p:cNvGraphicFramePr>
            <a:graphicFrameLocks noChangeAspect="1"/>
          </p:cNvGraphicFramePr>
          <p:nvPr/>
        </p:nvGraphicFramePr>
        <p:xfrm>
          <a:off x="336676" y="1607288"/>
          <a:ext cx="2790618" cy="38709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8" name="Rounded Rectangle 107"/>
          <p:cNvSpPr/>
          <p:nvPr/>
        </p:nvSpPr>
        <p:spPr>
          <a:xfrm>
            <a:off x="3196525" y="1095158"/>
            <a:ext cx="4666151" cy="4838616"/>
          </a:xfrm>
          <a:prstGeom prst="roundRect">
            <a:avLst>
              <a:gd name="adj" fmla="val 1236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  <a:headEnd/>
            <a:tailEnd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it-IT" sz="3000" b="1" dirty="0" smtClean="0">
              <a:solidFill>
                <a:srgbClr val="FDCD03"/>
              </a:solidFill>
              <a:latin typeface="Interstate-Light" pitchFamily="2" charset="0"/>
              <a:ea typeface="+mj-ea"/>
              <a:cs typeface="+mj-cs"/>
            </a:endParaRPr>
          </a:p>
        </p:txBody>
      </p:sp>
      <p:grpSp>
        <p:nvGrpSpPr>
          <p:cNvPr id="123" name="Group 122"/>
          <p:cNvGrpSpPr/>
          <p:nvPr/>
        </p:nvGrpSpPr>
        <p:grpSpPr>
          <a:xfrm>
            <a:off x="2909375" y="4533374"/>
            <a:ext cx="4822667" cy="1236394"/>
            <a:chOff x="2909375" y="4533374"/>
            <a:chExt cx="4822667" cy="1236394"/>
          </a:xfrm>
        </p:grpSpPr>
        <p:sp>
          <p:nvSpPr>
            <p:cNvPr id="227" name="Freeform 226"/>
            <p:cNvSpPr/>
            <p:nvPr/>
          </p:nvSpPr>
          <p:spPr bwMode="auto">
            <a:xfrm>
              <a:off x="3344804" y="4533374"/>
              <a:ext cx="4387238" cy="1236394"/>
            </a:xfrm>
            <a:custGeom>
              <a:avLst/>
              <a:gdLst>
                <a:gd name="connsiteX0" fmla="*/ 447675 w 3676650"/>
                <a:gd name="connsiteY0" fmla="*/ 0 h 1266825"/>
                <a:gd name="connsiteX1" fmla="*/ 3486150 w 3676650"/>
                <a:gd name="connsiteY1" fmla="*/ 0 h 1266825"/>
                <a:gd name="connsiteX2" fmla="*/ 3676650 w 3676650"/>
                <a:gd name="connsiteY2" fmla="*/ 1266825 h 1266825"/>
                <a:gd name="connsiteX3" fmla="*/ 0 w 3676650"/>
                <a:gd name="connsiteY3" fmla="*/ 1266825 h 1266825"/>
                <a:gd name="connsiteX4" fmla="*/ 447675 w 3676650"/>
                <a:gd name="connsiteY4" fmla="*/ 0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76650" h="1266825">
                  <a:moveTo>
                    <a:pt x="447675" y="0"/>
                  </a:moveTo>
                  <a:lnTo>
                    <a:pt x="3486150" y="0"/>
                  </a:lnTo>
                  <a:lnTo>
                    <a:pt x="3676650" y="1266825"/>
                  </a:lnTo>
                  <a:lnTo>
                    <a:pt x="0" y="1266825"/>
                  </a:lnTo>
                  <a:lnTo>
                    <a:pt x="447675" y="0"/>
                  </a:lnTo>
                  <a:close/>
                </a:path>
              </a:pathLst>
            </a:custGeom>
            <a:ln>
              <a:headEnd type="none" w="med" len="med"/>
              <a:tailEnd type="none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/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Font typeface="Marlett" pitchFamily="2" charset="2"/>
                <a:buChar char="g"/>
                <a:defRPr/>
              </a:pPr>
              <a:endParaRPr lang="it-IT" dirty="0">
                <a:solidFill>
                  <a:schemeClr val="tx1"/>
                </a:solidFill>
              </a:endParaRPr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2909375" y="4709748"/>
              <a:ext cx="4618336" cy="972454"/>
              <a:chOff x="2909375" y="4709748"/>
              <a:chExt cx="4618336" cy="972454"/>
            </a:xfrm>
          </p:grpSpPr>
          <p:grpSp>
            <p:nvGrpSpPr>
              <p:cNvPr id="103" name="Group 102"/>
              <p:cNvGrpSpPr/>
              <p:nvPr/>
            </p:nvGrpSpPr>
            <p:grpSpPr>
              <a:xfrm>
                <a:off x="3877401" y="4709748"/>
                <a:ext cx="3650310" cy="972454"/>
                <a:chOff x="3877401" y="4709748"/>
                <a:chExt cx="3650310" cy="972454"/>
              </a:xfrm>
            </p:grpSpPr>
            <p:sp>
              <p:nvSpPr>
                <p:cNvPr id="235" name="Oval 16"/>
                <p:cNvSpPr>
                  <a:spLocks noChangeAspect="1" noChangeArrowheads="1"/>
                </p:cNvSpPr>
                <p:nvPr/>
              </p:nvSpPr>
              <p:spPr bwMode="auto">
                <a:xfrm>
                  <a:off x="4118604" y="4709781"/>
                  <a:ext cx="3198630" cy="954022"/>
                </a:xfrm>
                <a:prstGeom prst="ellipse">
                  <a:avLst/>
                </a:prstGeom>
                <a:noFill/>
                <a:ln w="25400">
                  <a:gradFill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0"/>
                  </a:gradFill>
                  <a:round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  <a:defRPr/>
                  </a:pPr>
                  <a:endParaRPr lang="it-IT">
                    <a:ea typeface="ＭＳ Ｐゴシック" pitchFamily="34" charset="-128"/>
                  </a:endParaRPr>
                </a:p>
              </p:txBody>
            </p:sp>
            <p:grpSp>
              <p:nvGrpSpPr>
                <p:cNvPr id="239" name="Group 220"/>
                <p:cNvGrpSpPr/>
                <p:nvPr/>
              </p:nvGrpSpPr>
              <p:grpSpPr bwMode="auto">
                <a:xfrm>
                  <a:off x="4673221" y="4709748"/>
                  <a:ext cx="227376" cy="208929"/>
                  <a:chOff x="1887533" y="5145078"/>
                  <a:chExt cx="234949" cy="215900"/>
                </a:xfrm>
                <a:effectLst>
                  <a:reflection blurRad="6350" stA="50000" endA="300" endPos="55000" dir="5400000" sy="-100000" algn="bl" rotWithShape="0"/>
                </a:effectLst>
              </p:grpSpPr>
              <p:sp>
                <p:nvSpPr>
                  <p:cNvPr id="299" name="AutoShape 3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887533" y="5145078"/>
                    <a:ext cx="234949" cy="215900"/>
                  </a:xfrm>
                  <a:prstGeom prst="octagon">
                    <a:avLst>
                      <a:gd name="adj" fmla="val 29287"/>
                    </a:avLst>
                  </a:prstGeom>
                  <a:solidFill>
                    <a:schemeClr val="accent3">
                      <a:lumMod val="75000"/>
                    </a:schemeClr>
                  </a:solidFill>
                  <a:ln w="12700">
                    <a:noFill/>
                    <a:miter lim="800000"/>
                    <a:headEnd/>
                    <a:tailEnd/>
                  </a:ln>
                  <a:effectLst>
                    <a:outerShdw dist="17961" dir="2700000" algn="ctr" rotWithShape="0">
                      <a:srgbClr val="5F5F5F"/>
                    </a:outerShdw>
                  </a:effectLst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wrap="none" anchor="ctr"/>
                  <a:lstStyle/>
                  <a:p>
                    <a:pPr algn="ctr" defTabSz="762000" eaLnBrk="0" hangingPunct="0">
                      <a:lnSpc>
                        <a:spcPct val="90000"/>
                      </a:lnSpc>
                      <a:defRPr/>
                    </a:pPr>
                    <a:endParaRPr lang="en-GB">
                      <a:solidFill>
                        <a:schemeClr val="bg1"/>
                      </a:solidFill>
                      <a:latin typeface="Arial Narrow" pitchFamily="34" charset="0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00" name="AutoShape 38"/>
                  <p:cNvSpPr>
                    <a:spLocks noChangeAspect="1" noChangeArrowheads="1"/>
                  </p:cNvSpPr>
                  <p:nvPr/>
                </p:nvSpPr>
                <p:spPr bwMode="auto">
                  <a:xfrm rot="16203406" flipH="1">
                    <a:off x="1984764" y="5234894"/>
                    <a:ext cx="116035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 dirty="0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301" name="AutoShape 39"/>
                  <p:cNvSpPr>
                    <a:spLocks noChangeAspect="1" noChangeArrowheads="1"/>
                  </p:cNvSpPr>
                  <p:nvPr/>
                </p:nvSpPr>
                <p:spPr bwMode="auto">
                  <a:xfrm rot="5396594">
                    <a:off x="1906071" y="5233932"/>
                    <a:ext cx="115083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</p:grpSp>
            <p:grpSp>
              <p:nvGrpSpPr>
                <p:cNvPr id="247" name="Group 228"/>
                <p:cNvGrpSpPr/>
                <p:nvPr/>
              </p:nvGrpSpPr>
              <p:grpSpPr bwMode="auto">
                <a:xfrm>
                  <a:off x="6536779" y="4720502"/>
                  <a:ext cx="227376" cy="208929"/>
                  <a:chOff x="3813141" y="5156190"/>
                  <a:chExt cx="234948" cy="215900"/>
                </a:xfrm>
                <a:effectLst>
                  <a:reflection blurRad="6350" stA="50000" endA="300" endPos="55000" dir="5400000" sy="-100000" algn="bl" rotWithShape="0"/>
                </a:effectLst>
              </p:grpSpPr>
              <p:sp>
                <p:nvSpPr>
                  <p:cNvPr id="296" name="AutoShape 3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3813141" y="5156190"/>
                    <a:ext cx="234948" cy="215900"/>
                  </a:xfrm>
                  <a:prstGeom prst="octagon">
                    <a:avLst>
                      <a:gd name="adj" fmla="val 29287"/>
                    </a:avLst>
                  </a:prstGeom>
                  <a:solidFill>
                    <a:schemeClr val="accent3">
                      <a:lumMod val="75000"/>
                    </a:schemeClr>
                  </a:solidFill>
                  <a:ln w="12700">
                    <a:noFill/>
                    <a:miter lim="800000"/>
                    <a:headEnd/>
                    <a:tailEnd/>
                  </a:ln>
                  <a:effectLst>
                    <a:outerShdw dist="17961" dir="2700000" algn="ctr" rotWithShape="0">
                      <a:srgbClr val="5F5F5F"/>
                    </a:outerShdw>
                  </a:effectLst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wrap="none" anchor="ctr"/>
                  <a:lstStyle/>
                  <a:p>
                    <a:pPr algn="ctr" defTabSz="762000" eaLnBrk="0" hangingPunct="0">
                      <a:lnSpc>
                        <a:spcPct val="90000"/>
                      </a:lnSpc>
                      <a:defRPr/>
                    </a:pPr>
                    <a:endParaRPr lang="en-GB">
                      <a:solidFill>
                        <a:schemeClr val="bg1"/>
                      </a:solidFill>
                      <a:latin typeface="Arial Narrow" pitchFamily="34" charset="0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7" name="AutoShape 38"/>
                  <p:cNvSpPr>
                    <a:spLocks noChangeAspect="1" noChangeArrowheads="1"/>
                  </p:cNvSpPr>
                  <p:nvPr/>
                </p:nvSpPr>
                <p:spPr bwMode="auto">
                  <a:xfrm rot="16203406" flipH="1">
                    <a:off x="3910392" y="5246006"/>
                    <a:ext cx="116035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 dirty="0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8" name="AutoShape 39"/>
                  <p:cNvSpPr>
                    <a:spLocks noChangeAspect="1" noChangeArrowheads="1"/>
                  </p:cNvSpPr>
                  <p:nvPr/>
                </p:nvSpPr>
                <p:spPr bwMode="auto">
                  <a:xfrm rot="5396594">
                    <a:off x="3831708" y="5245044"/>
                    <a:ext cx="115083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</p:grpSp>
            <p:grpSp>
              <p:nvGrpSpPr>
                <p:cNvPr id="254" name="Group 219"/>
                <p:cNvGrpSpPr/>
                <p:nvPr/>
              </p:nvGrpSpPr>
              <p:grpSpPr bwMode="auto">
                <a:xfrm>
                  <a:off x="4531878" y="5416422"/>
                  <a:ext cx="227376" cy="208929"/>
                  <a:chOff x="1741483" y="5875328"/>
                  <a:chExt cx="234949" cy="215900"/>
                </a:xfrm>
                <a:effectLst>
                  <a:reflection blurRad="6350" stA="50000" endA="300" endPos="55000" dir="5400000" sy="-100000" algn="bl" rotWithShape="0"/>
                </a:effectLst>
              </p:grpSpPr>
              <p:sp>
                <p:nvSpPr>
                  <p:cNvPr id="293" name="AutoShape 3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1741483" y="5875328"/>
                    <a:ext cx="234949" cy="215900"/>
                  </a:xfrm>
                  <a:prstGeom prst="octagon">
                    <a:avLst>
                      <a:gd name="adj" fmla="val 29287"/>
                    </a:avLst>
                  </a:prstGeom>
                  <a:solidFill>
                    <a:schemeClr val="accent3">
                      <a:lumMod val="75000"/>
                    </a:schemeClr>
                  </a:solidFill>
                  <a:ln w="12700">
                    <a:noFill/>
                    <a:miter lim="800000"/>
                    <a:headEnd/>
                    <a:tailEnd/>
                  </a:ln>
                  <a:effectLst>
                    <a:outerShdw dist="17961" dir="2700000" algn="ctr" rotWithShape="0">
                      <a:srgbClr val="5F5F5F"/>
                    </a:outerShdw>
                  </a:effectLst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wrap="none" anchor="ctr"/>
                  <a:lstStyle/>
                  <a:p>
                    <a:pPr algn="ctr" defTabSz="762000" eaLnBrk="0" hangingPunct="0">
                      <a:lnSpc>
                        <a:spcPct val="90000"/>
                      </a:lnSpc>
                      <a:defRPr/>
                    </a:pPr>
                    <a:endParaRPr lang="en-GB">
                      <a:solidFill>
                        <a:schemeClr val="bg1"/>
                      </a:solidFill>
                      <a:latin typeface="Arial Narrow" pitchFamily="34" charset="0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4" name="AutoShape 38"/>
                  <p:cNvSpPr>
                    <a:spLocks noChangeAspect="1" noChangeArrowheads="1"/>
                  </p:cNvSpPr>
                  <p:nvPr/>
                </p:nvSpPr>
                <p:spPr bwMode="auto">
                  <a:xfrm rot="16203406" flipH="1">
                    <a:off x="1838714" y="5965143"/>
                    <a:ext cx="116035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 dirty="0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5" name="AutoShape 39"/>
                  <p:cNvSpPr>
                    <a:spLocks noChangeAspect="1" noChangeArrowheads="1"/>
                  </p:cNvSpPr>
                  <p:nvPr/>
                </p:nvSpPr>
                <p:spPr bwMode="auto">
                  <a:xfrm rot="5396594">
                    <a:off x="1760020" y="5964183"/>
                    <a:ext cx="115084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</p:grpSp>
            <p:grpSp>
              <p:nvGrpSpPr>
                <p:cNvPr id="262" name="Group 224"/>
                <p:cNvGrpSpPr/>
                <p:nvPr/>
              </p:nvGrpSpPr>
              <p:grpSpPr bwMode="auto">
                <a:xfrm>
                  <a:off x="6645858" y="5422588"/>
                  <a:ext cx="227376" cy="208929"/>
                  <a:chOff x="3925886" y="5881673"/>
                  <a:chExt cx="234950" cy="215899"/>
                </a:xfrm>
                <a:effectLst>
                  <a:reflection blurRad="6350" stA="50000" endA="300" endPos="55000" dir="5400000" sy="-100000" algn="bl" rotWithShape="0"/>
                </a:effectLst>
              </p:grpSpPr>
              <p:sp>
                <p:nvSpPr>
                  <p:cNvPr id="290" name="AutoShape 37"/>
                  <p:cNvSpPr>
                    <a:spLocks noChangeAspect="1" noChangeArrowheads="1"/>
                  </p:cNvSpPr>
                  <p:nvPr/>
                </p:nvSpPr>
                <p:spPr bwMode="auto">
                  <a:xfrm>
                    <a:off x="3925886" y="5881673"/>
                    <a:ext cx="234950" cy="215899"/>
                  </a:xfrm>
                  <a:prstGeom prst="octagon">
                    <a:avLst>
                      <a:gd name="adj" fmla="val 29287"/>
                    </a:avLst>
                  </a:prstGeom>
                  <a:solidFill>
                    <a:schemeClr val="accent3">
                      <a:lumMod val="75000"/>
                    </a:schemeClr>
                  </a:solidFill>
                  <a:ln w="12700">
                    <a:noFill/>
                    <a:miter lim="800000"/>
                    <a:headEnd/>
                    <a:tailEnd/>
                  </a:ln>
                  <a:effectLst>
                    <a:outerShdw dist="17961" dir="2700000" algn="ctr" rotWithShape="0">
                      <a:srgbClr val="5F5F5F"/>
                    </a:outerShdw>
                  </a:effectLst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wrap="none" anchor="ctr"/>
                  <a:lstStyle/>
                  <a:p>
                    <a:pPr algn="ctr" defTabSz="762000" eaLnBrk="0" hangingPunct="0">
                      <a:lnSpc>
                        <a:spcPct val="90000"/>
                      </a:lnSpc>
                      <a:defRPr/>
                    </a:pPr>
                    <a:endParaRPr lang="en-GB">
                      <a:solidFill>
                        <a:schemeClr val="bg1"/>
                      </a:solidFill>
                      <a:latin typeface="Arial Narrow" pitchFamily="34" charset="0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1" name="AutoShape 38"/>
                  <p:cNvSpPr>
                    <a:spLocks noChangeAspect="1" noChangeArrowheads="1"/>
                  </p:cNvSpPr>
                  <p:nvPr/>
                </p:nvSpPr>
                <p:spPr bwMode="auto">
                  <a:xfrm rot="16203406" flipH="1">
                    <a:off x="4023106" y="5971495"/>
                    <a:ext cx="116035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 dirty="0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92" name="AutoShape 39"/>
                  <p:cNvSpPr>
                    <a:spLocks noChangeAspect="1" noChangeArrowheads="1"/>
                  </p:cNvSpPr>
                  <p:nvPr/>
                </p:nvSpPr>
                <p:spPr bwMode="auto">
                  <a:xfrm rot="5396594">
                    <a:off x="3944421" y="5970532"/>
                    <a:ext cx="115083" cy="37261"/>
                  </a:xfrm>
                  <a:custGeom>
                    <a:avLst/>
                    <a:gdLst>
                      <a:gd name="G0" fmla="+- 5255 0 0"/>
                      <a:gd name="G1" fmla="+- 21600 0 5255"/>
                      <a:gd name="G2" fmla="*/ 5255 1 2"/>
                      <a:gd name="G3" fmla="+- 21600 0 G2"/>
                      <a:gd name="G4" fmla="+/ 5255 21600 2"/>
                      <a:gd name="G5" fmla="+/ G1 0 2"/>
                      <a:gd name="G6" fmla="*/ 21600 21600 5255"/>
                      <a:gd name="G7" fmla="*/ G6 1 2"/>
                      <a:gd name="G8" fmla="+- 21600 0 G7"/>
                      <a:gd name="G9" fmla="*/ 21600 1 2"/>
                      <a:gd name="G10" fmla="+- 5255 0 G9"/>
                      <a:gd name="G11" fmla="?: G10 G8 0"/>
                      <a:gd name="G12" fmla="?: G10 G7 21600"/>
                      <a:gd name="T0" fmla="*/ 18972 w 21600"/>
                      <a:gd name="T1" fmla="*/ 10800 h 21600"/>
                      <a:gd name="T2" fmla="*/ 10800 w 21600"/>
                      <a:gd name="T3" fmla="*/ 21600 h 21600"/>
                      <a:gd name="T4" fmla="*/ 2628 w 21600"/>
                      <a:gd name="T5" fmla="*/ 10800 h 21600"/>
                      <a:gd name="T6" fmla="*/ 10800 w 21600"/>
                      <a:gd name="T7" fmla="*/ 0 h 21600"/>
                      <a:gd name="T8" fmla="*/ 4428 w 21600"/>
                      <a:gd name="T9" fmla="*/ 4428 h 21600"/>
                      <a:gd name="T10" fmla="*/ 17172 w 21600"/>
                      <a:gd name="T11" fmla="*/ 17172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5255" y="21600"/>
                        </a:lnTo>
                        <a:lnTo>
                          <a:pt x="1634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rgbClr val="A603AB"/>
                      </a:gs>
                      <a:gs pos="21001">
                        <a:srgbClr val="0819FB"/>
                      </a:gs>
                      <a:gs pos="35001">
                        <a:srgbClr val="1A8D48"/>
                      </a:gs>
                      <a:gs pos="52000">
                        <a:srgbClr val="FFFF00"/>
                      </a:gs>
                      <a:gs pos="73000">
                        <a:srgbClr val="EE3F17"/>
                      </a:gs>
                      <a:gs pos="88000">
                        <a:srgbClr val="E81766"/>
                      </a:gs>
                      <a:gs pos="100000">
                        <a:srgbClr val="A603AB"/>
                      </a:gs>
                    </a:gsLst>
                    <a:lin ang="5400000" scaled="1"/>
                  </a:gradFill>
                  <a:ln w="6350">
                    <a:solidFill>
                      <a:schemeClr val="accent1"/>
                    </a:solidFill>
                    <a:miter lim="800000"/>
                    <a:headEnd/>
                    <a:tailEnd/>
                  </a:ln>
                  <a:effectLst/>
                  <a:scene3d>
                    <a:camera prst="orthographicFront"/>
                    <a:lightRig rig="threePt" dir="t"/>
                  </a:scene3d>
                  <a:sp3d prstMaterial="plastic">
                    <a:bevelT/>
                    <a:bevelB/>
                  </a:sp3d>
                </p:spPr>
                <p:txBody>
                  <a:bodyPr lIns="72000" tIns="36000" rIns="72000" bIns="36000" anchor="ctr">
                    <a:spAutoFit/>
                  </a:bodyPr>
                  <a:lstStyle/>
                  <a:p>
                    <a:pPr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271" name="Freeform 379"/>
                <p:cNvSpPr>
                  <a:spLocks noChangeArrowheads="1"/>
                </p:cNvSpPr>
                <p:nvPr/>
              </p:nvSpPr>
              <p:spPr bwMode="auto">
                <a:xfrm>
                  <a:off x="4412043" y="4715903"/>
                  <a:ext cx="261175" cy="55305"/>
                </a:xfrm>
                <a:custGeom>
                  <a:avLst/>
                  <a:gdLst>
                    <a:gd name="T0" fmla="*/ 0 w 270510"/>
                    <a:gd name="T1" fmla="*/ 0 h 57150"/>
                    <a:gd name="T2" fmla="*/ 266721 w 270510"/>
                    <a:gd name="T3" fmla="*/ 57150 h 57150"/>
                    <a:gd name="T4" fmla="*/ 0 60000 65536"/>
                    <a:gd name="T5" fmla="*/ 0 60000 65536"/>
                    <a:gd name="T6" fmla="*/ 0 w 270510"/>
                    <a:gd name="T7" fmla="*/ 0 h 57150"/>
                    <a:gd name="T8" fmla="*/ 270510 w 270510"/>
                    <a:gd name="T9" fmla="*/ 57150 h 57150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270510" h="57150">
                      <a:moveTo>
                        <a:pt x="0" y="0"/>
                      </a:moveTo>
                      <a:lnTo>
                        <a:pt x="270510" y="57150"/>
                      </a:lnTo>
                    </a:path>
                  </a:pathLst>
                </a:custGeom>
                <a:noFill/>
                <a:ln w="22225" algn="ctr">
                  <a:solidFill>
                    <a:srgbClr val="3250E6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/>
                </a:p>
              </p:txBody>
            </p:sp>
            <p:sp>
              <p:nvSpPr>
                <p:cNvPr id="286" name="Freeform 384"/>
                <p:cNvSpPr>
                  <a:spLocks noChangeArrowheads="1"/>
                </p:cNvSpPr>
                <p:nvPr/>
              </p:nvSpPr>
              <p:spPr bwMode="auto">
                <a:xfrm>
                  <a:off x="6871700" y="5551621"/>
                  <a:ext cx="330311" cy="0"/>
                </a:xfrm>
                <a:custGeom>
                  <a:avLst/>
                  <a:gdLst>
                    <a:gd name="T0" fmla="*/ 0 w 341334"/>
                    <a:gd name="T1" fmla="*/ 341208 w 341334"/>
                    <a:gd name="T2" fmla="*/ 0 60000 65536"/>
                    <a:gd name="T3" fmla="*/ 0 60000 65536"/>
                    <a:gd name="T4" fmla="*/ 0 w 341334"/>
                    <a:gd name="T5" fmla="*/ 341334 w 341334"/>
                  </a:gdLst>
                  <a:ahLst/>
                  <a:cxnLst>
                    <a:cxn ang="T2">
                      <a:pos x="T0" y="0"/>
                    </a:cxn>
                    <a:cxn ang="T3">
                      <a:pos x="T1" y="0"/>
                    </a:cxn>
                  </a:cxnLst>
                  <a:rect l="T4" t="0" r="T5" b="0"/>
                  <a:pathLst>
                    <a:path w="341334">
                      <a:moveTo>
                        <a:pt x="0" y="0"/>
                      </a:moveTo>
                      <a:lnTo>
                        <a:pt x="341334" y="0"/>
                      </a:lnTo>
                    </a:path>
                  </a:pathLst>
                </a:custGeom>
                <a:noFill/>
                <a:ln w="22225" algn="ctr">
                  <a:solidFill>
                    <a:srgbClr val="3250E6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/>
                </a:p>
              </p:txBody>
            </p:sp>
            <p:pic>
              <p:nvPicPr>
                <p:cNvPr id="287" name="Picture 29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3877401" y="5464055"/>
                  <a:ext cx="325701" cy="218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reflection blurRad="6350" stA="52000" endA="300" endPos="35000" dir="5400000" sy="-100000" algn="bl" rotWithShape="0"/>
                </a:effectLst>
              </p:spPr>
            </p:pic>
            <p:sp>
              <p:nvSpPr>
                <p:cNvPr id="288" name="Freeform 380"/>
                <p:cNvSpPr>
                  <a:spLocks noChangeArrowheads="1"/>
                </p:cNvSpPr>
                <p:nvPr/>
              </p:nvSpPr>
              <p:spPr bwMode="auto">
                <a:xfrm>
                  <a:off x="4178521" y="5539331"/>
                  <a:ext cx="354891" cy="18435"/>
                </a:xfrm>
                <a:custGeom>
                  <a:avLst/>
                  <a:gdLst>
                    <a:gd name="T0" fmla="*/ 0 w 367281"/>
                    <a:gd name="T1" fmla="*/ 18811 h 19098"/>
                    <a:gd name="T2" fmla="*/ 363881 w 367281"/>
                    <a:gd name="T3" fmla="*/ 0 h 19098"/>
                    <a:gd name="T4" fmla="*/ 0 60000 65536"/>
                    <a:gd name="T5" fmla="*/ 0 60000 65536"/>
                    <a:gd name="T6" fmla="*/ 0 w 367281"/>
                    <a:gd name="T7" fmla="*/ 0 h 19098"/>
                    <a:gd name="T8" fmla="*/ 367281 w 367281"/>
                    <a:gd name="T9" fmla="*/ 19098 h 19098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T6" t="T7" r="T8" b="T9"/>
                  <a:pathLst>
                    <a:path w="367281" h="19098">
                      <a:moveTo>
                        <a:pt x="0" y="19098"/>
                      </a:moveTo>
                      <a:lnTo>
                        <a:pt x="367281" y="0"/>
                      </a:lnTo>
                    </a:path>
                  </a:pathLst>
                </a:custGeom>
                <a:noFill/>
                <a:ln w="22225" algn="ctr">
                  <a:solidFill>
                    <a:srgbClr val="3250E6"/>
                  </a:solidFill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</a:pPr>
                  <a:endParaRPr lang="it-IT"/>
                </a:p>
              </p:txBody>
            </p:sp>
            <p:pic>
              <p:nvPicPr>
                <p:cNvPr id="289" name="Picture 29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7202010" y="5442547"/>
                  <a:ext cx="325701" cy="21814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>
                  <a:reflection blurRad="6350" stA="52000" endA="300" endPos="35000" dir="5400000" sy="-100000" algn="bl" rotWithShape="0"/>
                </a:effectLst>
              </p:spPr>
            </p:pic>
          </p:grpSp>
          <p:sp>
            <p:nvSpPr>
              <p:cNvPr id="162" name="Rectangle 14"/>
              <p:cNvSpPr>
                <a:spLocks noChangeArrowheads="1"/>
              </p:cNvSpPr>
              <p:nvPr/>
            </p:nvSpPr>
            <p:spPr bwMode="auto">
              <a:xfrm>
                <a:off x="2909375" y="5169124"/>
                <a:ext cx="1505285" cy="2978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>
                  <a:rot lat="910365" lon="2908724" rev="5143582"/>
                </a:camera>
                <a:lightRig rig="threePt" dir="t"/>
              </a:scene3d>
            </p:spPr>
            <p:txBody>
              <a:bodyPr wrap="none">
                <a:spAutoFit/>
              </a:bodyPr>
              <a:lstStyle/>
              <a:p>
                <a:pPr eaLnBrk="0" hangingPunct="0">
                  <a:spcBef>
                    <a:spcPct val="50000"/>
                  </a:spcBef>
                  <a:buSzPct val="40000"/>
                  <a:defRPr/>
                </a:pPr>
                <a:r>
                  <a:rPr lang="it-IT" sz="1400" dirty="0">
                    <a:solidFill>
                      <a:srgbClr val="FF0000"/>
                    </a:solidFill>
                    <a:latin typeface="Calibri" pitchFamily="34" charset="0"/>
                    <a:ea typeface="ＭＳ Ｐゴシック" pitchFamily="34" charset="-128"/>
                  </a:rPr>
                  <a:t>Transport Network</a:t>
                </a:r>
              </a:p>
            </p:txBody>
          </p:sp>
        </p:grpSp>
      </p:grpSp>
      <p:grpSp>
        <p:nvGrpSpPr>
          <p:cNvPr id="122" name="Group 121"/>
          <p:cNvGrpSpPr/>
          <p:nvPr/>
        </p:nvGrpSpPr>
        <p:grpSpPr>
          <a:xfrm>
            <a:off x="2968861" y="3437889"/>
            <a:ext cx="4763181" cy="1990832"/>
            <a:chOff x="2968861" y="3437889"/>
            <a:chExt cx="4763181" cy="1990832"/>
          </a:xfrm>
        </p:grpSpPr>
        <p:grpSp>
          <p:nvGrpSpPr>
            <p:cNvPr id="121" name="Group 120"/>
            <p:cNvGrpSpPr/>
            <p:nvPr/>
          </p:nvGrpSpPr>
          <p:grpSpPr>
            <a:xfrm>
              <a:off x="2968861" y="3437889"/>
              <a:ext cx="4763181" cy="1990832"/>
              <a:chOff x="2968861" y="3437889"/>
              <a:chExt cx="4763181" cy="1990832"/>
            </a:xfrm>
          </p:grpSpPr>
          <p:pic>
            <p:nvPicPr>
              <p:cNvPr id="228" name="Picture 29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4121693" y="4629873"/>
                <a:ext cx="325701" cy="21814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</p:pic>
          <p:sp>
            <p:nvSpPr>
              <p:cNvPr id="134" name="Freeform 405"/>
              <p:cNvSpPr>
                <a:spLocks noChangeArrowheads="1"/>
              </p:cNvSpPr>
              <p:nvPr/>
            </p:nvSpPr>
            <p:spPr bwMode="auto">
              <a:xfrm>
                <a:off x="6804101" y="4087578"/>
                <a:ext cx="517742" cy="1338071"/>
              </a:xfrm>
              <a:custGeom>
                <a:avLst/>
                <a:gdLst>
                  <a:gd name="T0" fmla="*/ 533640 w 535258"/>
                  <a:gd name="T1" fmla="*/ 0 h 1382750"/>
                  <a:gd name="T2" fmla="*/ 0 w 535258"/>
                  <a:gd name="T3" fmla="*/ 1382528 h 1382750"/>
                  <a:gd name="T4" fmla="*/ 0 60000 65536"/>
                  <a:gd name="T5" fmla="*/ 0 60000 65536"/>
                  <a:gd name="T6" fmla="*/ 0 w 535258"/>
                  <a:gd name="T7" fmla="*/ 0 h 1382750"/>
                  <a:gd name="T8" fmla="*/ 535258 w 535258"/>
                  <a:gd name="T9" fmla="*/ 1382750 h 1382750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535258" h="1382750">
                    <a:moveTo>
                      <a:pt x="535258" y="0"/>
                    </a:moveTo>
                    <a:lnTo>
                      <a:pt x="0" y="1382750"/>
                    </a:lnTo>
                  </a:path>
                </a:pathLst>
              </a:custGeom>
              <a:noFill/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35" name="Freeform 406"/>
              <p:cNvSpPr>
                <a:spLocks noChangeArrowheads="1"/>
              </p:cNvSpPr>
              <p:nvPr/>
            </p:nvSpPr>
            <p:spPr bwMode="auto">
              <a:xfrm>
                <a:off x="6436920" y="3668183"/>
                <a:ext cx="133660" cy="1073836"/>
              </a:xfrm>
              <a:custGeom>
                <a:avLst/>
                <a:gdLst>
                  <a:gd name="T0" fmla="*/ 0 w 84750"/>
                  <a:gd name="T1" fmla="*/ 0 h 972386"/>
                  <a:gd name="T2" fmla="*/ 2576052 w 84750"/>
                  <a:gd name="T3" fmla="*/ 2451337 h 972386"/>
                  <a:gd name="T4" fmla="*/ 0 60000 65536"/>
                  <a:gd name="T5" fmla="*/ 0 60000 65536"/>
                  <a:gd name="T6" fmla="*/ 0 w 84750"/>
                  <a:gd name="T7" fmla="*/ 0 h 972386"/>
                  <a:gd name="T8" fmla="*/ 84750 w 84750"/>
                  <a:gd name="T9" fmla="*/ 972386 h 97238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84750" h="972386">
                    <a:moveTo>
                      <a:pt x="0" y="0"/>
                    </a:moveTo>
                    <a:lnTo>
                      <a:pt x="84750" y="972386"/>
                    </a:lnTo>
                  </a:path>
                </a:pathLst>
              </a:custGeom>
              <a:noFill/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40" name="Freeform 407"/>
              <p:cNvSpPr>
                <a:spLocks noChangeArrowheads="1"/>
              </p:cNvSpPr>
              <p:nvPr/>
            </p:nvSpPr>
            <p:spPr bwMode="auto">
              <a:xfrm flipH="1">
                <a:off x="4839141" y="3646676"/>
                <a:ext cx="204331" cy="1061546"/>
              </a:xfrm>
              <a:custGeom>
                <a:avLst/>
                <a:gdLst>
                  <a:gd name="T0" fmla="*/ 0 w 84750"/>
                  <a:gd name="T1" fmla="*/ 0 h 972386"/>
                  <a:gd name="T2" fmla="*/ 50477444 w 84750"/>
                  <a:gd name="T3" fmla="*/ 2258634 h 972386"/>
                  <a:gd name="T4" fmla="*/ 0 60000 65536"/>
                  <a:gd name="T5" fmla="*/ 0 60000 65536"/>
                  <a:gd name="T6" fmla="*/ 0 w 84750"/>
                  <a:gd name="T7" fmla="*/ 0 h 972386"/>
                  <a:gd name="T8" fmla="*/ 84750 w 84750"/>
                  <a:gd name="T9" fmla="*/ 972386 h 97238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84750" h="972386">
                    <a:moveTo>
                      <a:pt x="0" y="0"/>
                    </a:moveTo>
                    <a:lnTo>
                      <a:pt x="84750" y="972386"/>
                    </a:lnTo>
                  </a:path>
                </a:pathLst>
              </a:custGeom>
              <a:noFill/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41" name="Freeform 408"/>
              <p:cNvSpPr>
                <a:spLocks noChangeArrowheads="1"/>
              </p:cNvSpPr>
              <p:nvPr/>
            </p:nvSpPr>
            <p:spPr bwMode="auto">
              <a:xfrm flipH="1">
                <a:off x="4653246" y="4483929"/>
                <a:ext cx="159778" cy="927893"/>
              </a:xfrm>
              <a:custGeom>
                <a:avLst/>
                <a:gdLst>
                  <a:gd name="T0" fmla="*/ 0 w 84750"/>
                  <a:gd name="T1" fmla="*/ 0 h 972386"/>
                  <a:gd name="T2" fmla="*/ 9020457 w 84750"/>
                  <a:gd name="T3" fmla="*/ 881643 h 972386"/>
                  <a:gd name="T4" fmla="*/ 0 60000 65536"/>
                  <a:gd name="T5" fmla="*/ 0 60000 65536"/>
                  <a:gd name="T6" fmla="*/ 0 w 84750"/>
                  <a:gd name="T7" fmla="*/ 0 h 972386"/>
                  <a:gd name="T8" fmla="*/ 84750 w 84750"/>
                  <a:gd name="T9" fmla="*/ 972386 h 97238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84750" h="972386">
                    <a:moveTo>
                      <a:pt x="0" y="0"/>
                    </a:moveTo>
                    <a:lnTo>
                      <a:pt x="84750" y="972386"/>
                    </a:lnTo>
                  </a:path>
                </a:pathLst>
              </a:custGeom>
              <a:noFill/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42" name="Freeform 409"/>
              <p:cNvSpPr>
                <a:spLocks noChangeArrowheads="1"/>
              </p:cNvSpPr>
              <p:nvPr/>
            </p:nvSpPr>
            <p:spPr bwMode="auto">
              <a:xfrm>
                <a:off x="4112459" y="4036882"/>
                <a:ext cx="165923" cy="592991"/>
              </a:xfrm>
              <a:custGeom>
                <a:avLst/>
                <a:gdLst>
                  <a:gd name="T0" fmla="*/ 0 w 84750"/>
                  <a:gd name="T1" fmla="*/ 0 h 972386"/>
                  <a:gd name="T2" fmla="*/ 11720455 w 84750"/>
                  <a:gd name="T3" fmla="*/ 38365 h 972386"/>
                  <a:gd name="T4" fmla="*/ 0 60000 65536"/>
                  <a:gd name="T5" fmla="*/ 0 60000 65536"/>
                  <a:gd name="T6" fmla="*/ 0 w 84750"/>
                  <a:gd name="T7" fmla="*/ 0 h 972386"/>
                  <a:gd name="T8" fmla="*/ 84750 w 84750"/>
                  <a:gd name="T9" fmla="*/ 972386 h 97238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84750" h="972386">
                    <a:moveTo>
                      <a:pt x="0" y="0"/>
                    </a:moveTo>
                    <a:lnTo>
                      <a:pt x="84750" y="972386"/>
                    </a:lnTo>
                  </a:path>
                </a:pathLst>
              </a:custGeom>
              <a:noFill/>
              <a:ln w="19050" algn="ctr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43" name="Freeform 404"/>
              <p:cNvSpPr>
                <a:spLocks noChangeArrowheads="1"/>
              </p:cNvSpPr>
              <p:nvPr/>
            </p:nvSpPr>
            <p:spPr bwMode="auto">
              <a:xfrm>
                <a:off x="6682732" y="4487002"/>
                <a:ext cx="81425" cy="941719"/>
              </a:xfrm>
              <a:custGeom>
                <a:avLst/>
                <a:gdLst>
                  <a:gd name="T0" fmla="*/ 0 w 84750"/>
                  <a:gd name="T1" fmla="*/ 0 h 972386"/>
                  <a:gd name="T2" fmla="*/ 81138 w 84750"/>
                  <a:gd name="T3" fmla="*/ 976907 h 972386"/>
                  <a:gd name="T4" fmla="*/ 0 60000 65536"/>
                  <a:gd name="T5" fmla="*/ 0 60000 65536"/>
                  <a:gd name="T6" fmla="*/ 0 w 84750"/>
                  <a:gd name="T7" fmla="*/ 0 h 972386"/>
                  <a:gd name="T8" fmla="*/ 84750 w 84750"/>
                  <a:gd name="T9" fmla="*/ 972386 h 97238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84750" h="972386">
                    <a:moveTo>
                      <a:pt x="0" y="0"/>
                    </a:moveTo>
                    <a:lnTo>
                      <a:pt x="84750" y="972386"/>
                    </a:lnTo>
                  </a:path>
                </a:pathLst>
              </a:custGeom>
              <a:noFill/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 dirty="0"/>
              </a:p>
            </p:txBody>
          </p:sp>
          <p:grpSp>
            <p:nvGrpSpPr>
              <p:cNvPr id="115" name="Group 114"/>
              <p:cNvGrpSpPr/>
              <p:nvPr/>
            </p:nvGrpSpPr>
            <p:grpSpPr>
              <a:xfrm>
                <a:off x="2968861" y="3437889"/>
                <a:ext cx="4763181" cy="1236394"/>
                <a:chOff x="2968861" y="3437889"/>
                <a:chExt cx="4763181" cy="1236394"/>
              </a:xfrm>
            </p:grpSpPr>
            <p:sp>
              <p:nvSpPr>
                <p:cNvPr id="145" name="Freeform 144"/>
                <p:cNvSpPr/>
                <p:nvPr/>
              </p:nvSpPr>
              <p:spPr bwMode="auto">
                <a:xfrm>
                  <a:off x="3344804" y="3437889"/>
                  <a:ext cx="4387238" cy="1236394"/>
                </a:xfrm>
                <a:custGeom>
                  <a:avLst/>
                  <a:gdLst>
                    <a:gd name="connsiteX0" fmla="*/ 447675 w 3676650"/>
                    <a:gd name="connsiteY0" fmla="*/ 0 h 1266825"/>
                    <a:gd name="connsiteX1" fmla="*/ 3486150 w 3676650"/>
                    <a:gd name="connsiteY1" fmla="*/ 0 h 1266825"/>
                    <a:gd name="connsiteX2" fmla="*/ 3676650 w 3676650"/>
                    <a:gd name="connsiteY2" fmla="*/ 1266825 h 1266825"/>
                    <a:gd name="connsiteX3" fmla="*/ 0 w 3676650"/>
                    <a:gd name="connsiteY3" fmla="*/ 1266825 h 1266825"/>
                    <a:gd name="connsiteX4" fmla="*/ 447675 w 3676650"/>
                    <a:gd name="connsiteY4" fmla="*/ 0 h 1266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676650" h="1266825">
                      <a:moveTo>
                        <a:pt x="447675" y="0"/>
                      </a:moveTo>
                      <a:lnTo>
                        <a:pt x="3486150" y="0"/>
                      </a:lnTo>
                      <a:lnTo>
                        <a:pt x="3676650" y="1266825"/>
                      </a:lnTo>
                      <a:lnTo>
                        <a:pt x="0" y="1266825"/>
                      </a:lnTo>
                      <a:lnTo>
                        <a:pt x="447675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chemeClr val="accent2">
                        <a:tint val="50000"/>
                        <a:satMod val="300000"/>
                        <a:alpha val="83000"/>
                      </a:schemeClr>
                    </a:gs>
                    <a:gs pos="71000">
                      <a:schemeClr val="accent2">
                        <a:tint val="37000"/>
                        <a:satMod val="300000"/>
                        <a:alpha val="37000"/>
                      </a:schemeClr>
                    </a:gs>
                  </a:gsLst>
                </a:gradFill>
                <a:ln>
                  <a:headEnd type="none" w="med" len="med"/>
                  <a:tailEnd type="none" w="med" len="med"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Char char="g"/>
                    <a:defRPr/>
                  </a:pPr>
                  <a:endParaRPr lang="it-IT" dirty="0">
                    <a:solidFill>
                      <a:schemeClr val="tx1"/>
                    </a:solidFill>
                  </a:endParaRPr>
                </a:p>
              </p:txBody>
            </p:sp>
            <p:pic>
              <p:nvPicPr>
                <p:cNvPr id="146" name="Picture 119" descr="D:\Documents and Settings\sbeaver\My Documents\documents\packet\icons\DSLAM.jpg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lum contrast="40000"/>
                  <a:duotone>
                    <a:prstClr val="black"/>
                    <a:schemeClr val="accent3">
                      <a:tint val="45000"/>
                      <a:satMod val="400000"/>
                    </a:schemeClr>
                  </a:duotone>
                </a:blip>
                <a:srcRect/>
                <a:stretch>
                  <a:fillRect/>
                </a:stretch>
              </p:blipFill>
              <p:spPr bwMode="auto">
                <a:xfrm flipH="1">
                  <a:off x="7293427" y="3865178"/>
                  <a:ext cx="190842" cy="211545"/>
                </a:xfrm>
                <a:prstGeom prst="rect">
                  <a:avLst/>
                </a:prstGeom>
                <a:effectLst>
                  <a:reflection blurRad="6350" stA="52000" endA="300" endPos="35000" dir="5400000" sy="-100000" algn="bl" rotWithShape="0"/>
                </a:effectLst>
              </p:spPr>
            </p:pic>
            <p:grpSp>
              <p:nvGrpSpPr>
                <p:cNvPr id="110" name="Group 109"/>
                <p:cNvGrpSpPr/>
                <p:nvPr/>
              </p:nvGrpSpPr>
              <p:grpSpPr>
                <a:xfrm>
                  <a:off x="6569052" y="4311870"/>
                  <a:ext cx="451681" cy="212002"/>
                  <a:chOff x="6569052" y="4311870"/>
                  <a:chExt cx="451681" cy="212002"/>
                </a:xfrm>
              </p:grpSpPr>
              <p:pic>
                <p:nvPicPr>
                  <p:cNvPr id="213" name="Picture 119" descr="D:\Documents and Settings\sbeaver\My Documents\documents\packet\icons\DSLAM.jpg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duotone>
                      <a:prstClr val="black"/>
                      <a:schemeClr val="accent3">
                        <a:tint val="45000"/>
                        <a:satMod val="400000"/>
                      </a:schemeClr>
                    </a:duotone>
                    <a:lum contrast="40000"/>
                  </a:blip>
                  <a:srcRect/>
                  <a:stretch>
                    <a:fillRect/>
                  </a:stretch>
                </p:blipFill>
                <p:spPr bwMode="auto">
                  <a:xfrm flipH="1">
                    <a:off x="6569052" y="4311870"/>
                    <a:ext cx="190752" cy="212002"/>
                  </a:xfrm>
                  <a:prstGeom prst="rect">
                    <a:avLst/>
                  </a:prstGeom>
                  <a:effectLst>
                    <a:reflection blurRad="6350" stA="52000" endA="300" endPos="35000" dir="5400000" sy="-100000" algn="bl" rotWithShape="0"/>
                  </a:effectLst>
                </p:spPr>
              </p:pic>
              <p:pic>
                <p:nvPicPr>
                  <p:cNvPr id="215" name="Picture 236" descr="Ngrg.jpg"/>
                  <p:cNvPicPr>
                    <a:picLocks noChangeAspect="1"/>
                  </p:cNvPicPr>
                  <p:nvPr/>
                </p:nvPicPr>
                <p:blipFill>
                  <a:blip r:embed="rId10" cstate="print"/>
                  <a:srcRect/>
                  <a:stretch>
                    <a:fillRect/>
                  </a:stretch>
                </p:blipFill>
                <p:spPr bwMode="auto">
                  <a:xfrm>
                    <a:off x="6814795" y="4346466"/>
                    <a:ext cx="205938" cy="14914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216" name="Freeform 215"/>
                  <p:cNvSpPr/>
                  <p:nvPr/>
                </p:nvSpPr>
                <p:spPr bwMode="auto">
                  <a:xfrm>
                    <a:off x="6756285" y="4414715"/>
                    <a:ext cx="52974" cy="9535"/>
                  </a:xfrm>
                  <a:custGeom>
                    <a:avLst/>
                    <a:gdLst>
                      <a:gd name="connsiteX0" fmla="*/ 54389 w 54389"/>
                      <a:gd name="connsiteY0" fmla="*/ 10198 h 10198"/>
                      <a:gd name="connsiteX1" fmla="*/ 0 w 54389"/>
                      <a:gd name="connsiteY1" fmla="*/ 0 h 101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389" h="10198">
                        <a:moveTo>
                          <a:pt x="54389" y="10198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</p:grpSp>
            <p:grpSp>
              <p:nvGrpSpPr>
                <p:cNvPr id="106" name="Group 105"/>
                <p:cNvGrpSpPr/>
                <p:nvPr/>
              </p:nvGrpSpPr>
              <p:grpSpPr>
                <a:xfrm>
                  <a:off x="3723771" y="3874038"/>
                  <a:ext cx="447072" cy="537686"/>
                  <a:chOff x="3723771" y="3874038"/>
                  <a:chExt cx="447072" cy="537686"/>
                </a:xfrm>
              </p:grpSpPr>
              <p:pic>
                <p:nvPicPr>
                  <p:cNvPr id="206" name="Picture 119" descr="D:\Documents and Settings\sbeaver\My Documents\documents\packet\icons\DSLAM.jpg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duotone>
                      <a:prstClr val="black"/>
                      <a:schemeClr val="accent3">
                        <a:tint val="45000"/>
                        <a:satMod val="400000"/>
                      </a:schemeClr>
                    </a:duotone>
                    <a:lum contrast="4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3980385" y="3874038"/>
                    <a:ext cx="190458" cy="211109"/>
                  </a:xfrm>
                  <a:prstGeom prst="rect">
                    <a:avLst/>
                  </a:prstGeom>
                  <a:effectLst>
                    <a:reflection blurRad="6350" stA="52000" endA="300" endPos="35000" dir="5400000" sy="-100000" algn="bl" rotWithShape="0"/>
                  </a:effectLst>
                </p:spPr>
              </p:pic>
              <p:pic>
                <p:nvPicPr>
                  <p:cNvPr id="207" name="Picture 240" descr="Ngrg.jpg"/>
                  <p:cNvPicPr>
                    <a:picLocks noChangeAspect="1"/>
                  </p:cNvPicPr>
                  <p:nvPr/>
                </p:nvPicPr>
                <p:blipFill>
                  <a:blip r:embed="rId10" cstate="print"/>
                  <a:srcRect/>
                  <a:stretch>
                    <a:fillRect/>
                  </a:stretch>
                </p:blipFill>
                <p:spPr bwMode="auto">
                  <a:xfrm>
                    <a:off x="3801739" y="4106388"/>
                    <a:ext cx="205621" cy="14851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08" name="Picture 35" descr="D:\Documents and Settings\sbeaver\My Documents\documents\packet\icons\pc.jpg"/>
                  <p:cNvPicPr>
                    <a:picLocks noChangeAspect="1" noChangeArrowheads="1"/>
                  </p:cNvPicPr>
                  <p:nvPr/>
                </p:nvPicPr>
                <p:blipFill>
                  <a:blip r:embed="rId11" cstate="print"/>
                  <a:srcRect/>
                  <a:stretch>
                    <a:fillRect/>
                  </a:stretch>
                </p:blipFill>
                <p:spPr bwMode="auto">
                  <a:xfrm>
                    <a:off x="3723771" y="4296460"/>
                    <a:ext cx="138442" cy="11526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09" name="Picture 102" descr="D:\Documents and Settings\sbeaver\My Documents\documents\packet\icons\IP phone.jpg"/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/>
                  <a:srcRect/>
                  <a:stretch>
                    <a:fillRect/>
                  </a:stretch>
                </p:blipFill>
                <p:spPr bwMode="auto">
                  <a:xfrm>
                    <a:off x="3892348" y="4308211"/>
                    <a:ext cx="127864" cy="10254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210" name="Freeform 209"/>
                  <p:cNvSpPr/>
                  <p:nvPr/>
                </p:nvSpPr>
                <p:spPr bwMode="auto">
                  <a:xfrm>
                    <a:off x="3901025" y="3984570"/>
                    <a:ext cx="85818" cy="118660"/>
                  </a:xfrm>
                  <a:custGeom>
                    <a:avLst/>
                    <a:gdLst>
                      <a:gd name="connsiteX0" fmla="*/ 0 w 88381"/>
                      <a:gd name="connsiteY0" fmla="*/ 122373 h 122373"/>
                      <a:gd name="connsiteX1" fmla="*/ 88381 w 88381"/>
                      <a:gd name="connsiteY1" fmla="*/ 0 h 1223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381" h="122373">
                        <a:moveTo>
                          <a:pt x="0" y="122373"/>
                        </a:moveTo>
                        <a:lnTo>
                          <a:pt x="88381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11" name="Freeform 210"/>
                  <p:cNvSpPr/>
                  <p:nvPr/>
                </p:nvSpPr>
                <p:spPr bwMode="auto">
                  <a:xfrm>
                    <a:off x="3770711" y="4187987"/>
                    <a:ext cx="55092" cy="104887"/>
                  </a:xfrm>
                  <a:custGeom>
                    <a:avLst/>
                    <a:gdLst>
                      <a:gd name="connsiteX0" fmla="*/ 0 w 57787"/>
                      <a:gd name="connsiteY0" fmla="*/ 108776 h 108776"/>
                      <a:gd name="connsiteX1" fmla="*/ 57787 w 57787"/>
                      <a:gd name="connsiteY1" fmla="*/ 0 h 1087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7787" h="108776">
                        <a:moveTo>
                          <a:pt x="0" y="108776"/>
                        </a:moveTo>
                        <a:lnTo>
                          <a:pt x="57787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12" name="Freeform 211"/>
                  <p:cNvSpPr/>
                  <p:nvPr/>
                </p:nvSpPr>
                <p:spPr bwMode="auto">
                  <a:xfrm>
                    <a:off x="3885133" y="4220831"/>
                    <a:ext cx="72044" cy="88995"/>
                  </a:xfrm>
                  <a:custGeom>
                    <a:avLst/>
                    <a:gdLst>
                      <a:gd name="connsiteX0" fmla="*/ 74783 w 74783"/>
                      <a:gd name="connsiteY0" fmla="*/ 91780 h 91780"/>
                      <a:gd name="connsiteX1" fmla="*/ 0 w 74783"/>
                      <a:gd name="connsiteY1" fmla="*/ 0 h 9178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4783" h="91780">
                        <a:moveTo>
                          <a:pt x="74783" y="91780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</p:grpSp>
            <p:grpSp>
              <p:nvGrpSpPr>
                <p:cNvPr id="114" name="Group 113"/>
                <p:cNvGrpSpPr/>
                <p:nvPr/>
              </p:nvGrpSpPr>
              <p:grpSpPr>
                <a:xfrm>
                  <a:off x="4525731" y="3489185"/>
                  <a:ext cx="2425856" cy="355682"/>
                  <a:chOff x="4525731" y="3489185"/>
                  <a:chExt cx="2425856" cy="355682"/>
                </a:xfrm>
              </p:grpSpPr>
              <p:pic>
                <p:nvPicPr>
                  <p:cNvPr id="147" name="Picture 119" descr="D:\Documents and Settings\sbeaver\My Documents\documents\packet\icons\DSLAM.jpg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lum contrast="40000"/>
                    <a:duotone>
                      <a:prstClr val="black"/>
                      <a:schemeClr val="accent3">
                        <a:tint val="45000"/>
                        <a:satMod val="400000"/>
                      </a:schemeClr>
                    </a:duotone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948217" y="3489185"/>
                    <a:ext cx="190842" cy="211545"/>
                  </a:xfrm>
                  <a:prstGeom prst="rect">
                    <a:avLst/>
                  </a:prstGeom>
                  <a:effectLst>
                    <a:reflection blurRad="6350" stA="52000" endA="300" endPos="35000" dir="5400000" sy="-100000" algn="bl" rotWithShape="0"/>
                  </a:effectLst>
                </p:spPr>
              </p:pic>
              <p:pic>
                <p:nvPicPr>
                  <p:cNvPr id="199" name="Picture 247" descr="Ngrg.jpg"/>
                  <p:cNvPicPr>
                    <a:picLocks noChangeAspect="1"/>
                  </p:cNvPicPr>
                  <p:nvPr/>
                </p:nvPicPr>
                <p:blipFill>
                  <a:blip r:embed="rId10" cstate="print"/>
                  <a:srcRect/>
                  <a:stretch>
                    <a:fillRect/>
                  </a:stretch>
                </p:blipFill>
                <p:spPr bwMode="auto">
                  <a:xfrm>
                    <a:off x="4694419" y="3619521"/>
                    <a:ext cx="205357" cy="148346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00" name="Picture 35" descr="D:\Documents and Settings\sbeaver\My Documents\documents\packet\icons\pc.jpg"/>
                  <p:cNvPicPr>
                    <a:picLocks noChangeAspect="1" noChangeArrowheads="1"/>
                  </p:cNvPicPr>
                  <p:nvPr/>
                </p:nvPicPr>
                <p:blipFill>
                  <a:blip r:embed="rId11" cstate="print"/>
                  <a:srcRect/>
                  <a:stretch>
                    <a:fillRect/>
                  </a:stretch>
                </p:blipFill>
                <p:spPr bwMode="auto">
                  <a:xfrm>
                    <a:off x="4531935" y="3728165"/>
                    <a:ext cx="138265" cy="11513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01" name="Picture 102" descr="D:\Documents and Settings\sbeaver\My Documents\documents\packet\icons\IP phone.jpg"/>
                  <p:cNvPicPr>
                    <a:picLocks noChangeAspect="1" noChangeArrowheads="1"/>
                  </p:cNvPicPr>
                  <p:nvPr/>
                </p:nvPicPr>
                <p:blipFill>
                  <a:blip r:embed="rId12" cstate="print"/>
                  <a:srcRect/>
                  <a:stretch>
                    <a:fillRect/>
                  </a:stretch>
                </p:blipFill>
                <p:spPr bwMode="auto">
                  <a:xfrm>
                    <a:off x="4525731" y="3592892"/>
                    <a:ext cx="127700" cy="10243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202" name="Freeform 201"/>
                  <p:cNvSpPr/>
                  <p:nvPr/>
                </p:nvSpPr>
                <p:spPr bwMode="auto">
                  <a:xfrm>
                    <a:off x="4841825" y="3626459"/>
                    <a:ext cx="104888" cy="26487"/>
                  </a:xfrm>
                  <a:custGeom>
                    <a:avLst/>
                    <a:gdLst>
                      <a:gd name="connsiteX0" fmla="*/ 0 w 108776"/>
                      <a:gd name="connsiteY0" fmla="*/ 27194 h 27194"/>
                      <a:gd name="connsiteX1" fmla="*/ 108776 w 108776"/>
                      <a:gd name="connsiteY1" fmla="*/ 0 h 271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8776" h="27194">
                        <a:moveTo>
                          <a:pt x="0" y="27194"/>
                        </a:moveTo>
                        <a:lnTo>
                          <a:pt x="108776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3" name="Freeform 202"/>
                  <p:cNvSpPr/>
                  <p:nvPr/>
                </p:nvSpPr>
                <p:spPr bwMode="auto">
                  <a:xfrm>
                    <a:off x="4652182" y="3649767"/>
                    <a:ext cx="51914" cy="28605"/>
                  </a:xfrm>
                  <a:custGeom>
                    <a:avLst/>
                    <a:gdLst>
                      <a:gd name="connsiteX0" fmla="*/ 0 w 54388"/>
                      <a:gd name="connsiteY0" fmla="*/ 0 h 30594"/>
                      <a:gd name="connsiteX1" fmla="*/ 54388 w 54388"/>
                      <a:gd name="connsiteY1" fmla="*/ 30594 h 305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388" h="30594">
                        <a:moveTo>
                          <a:pt x="0" y="0"/>
                        </a:moveTo>
                        <a:lnTo>
                          <a:pt x="54388" y="30594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204" name="Freeform 203"/>
                  <p:cNvSpPr/>
                  <p:nvPr/>
                </p:nvSpPr>
                <p:spPr bwMode="auto">
                  <a:xfrm>
                    <a:off x="4675490" y="3708038"/>
                    <a:ext cx="51914" cy="63568"/>
                  </a:xfrm>
                  <a:custGeom>
                    <a:avLst/>
                    <a:gdLst>
                      <a:gd name="connsiteX0" fmla="*/ 0 w 54388"/>
                      <a:gd name="connsiteY0" fmla="*/ 64586 h 64586"/>
                      <a:gd name="connsiteX1" fmla="*/ 54388 w 54388"/>
                      <a:gd name="connsiteY1" fmla="*/ 0 h 645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4388" h="64586">
                        <a:moveTo>
                          <a:pt x="0" y="64586"/>
                        </a:moveTo>
                        <a:lnTo>
                          <a:pt x="54388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  <p:grpSp>
                <p:nvGrpSpPr>
                  <p:cNvPr id="112" name="Group 111"/>
                  <p:cNvGrpSpPr/>
                  <p:nvPr/>
                </p:nvGrpSpPr>
                <p:grpSpPr>
                  <a:xfrm>
                    <a:off x="6359881" y="3490806"/>
                    <a:ext cx="591706" cy="354061"/>
                    <a:chOff x="6359881" y="3490806"/>
                    <a:chExt cx="591706" cy="354061"/>
                  </a:xfrm>
                </p:grpSpPr>
                <p:pic>
                  <p:nvPicPr>
                    <p:cNvPr id="151" name="Picture 119" descr="D:\Documents and Settings\sbeaver\My Documents\documents\packet\icons\DSLAM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9" cstate="print">
                      <a:lum contrast="40000"/>
                      <a:duotone>
                        <a:prstClr val="black"/>
                        <a:schemeClr val="accent3">
                          <a:tint val="45000"/>
                          <a:satMod val="400000"/>
                        </a:schemeClr>
                      </a:duotone>
                    </a:blip>
                    <a:srcRect/>
                    <a:stretch>
                      <a:fillRect/>
                    </a:stretch>
                  </p:blipFill>
                  <p:spPr bwMode="auto">
                    <a:xfrm flipH="1">
                      <a:off x="6359881" y="3490806"/>
                      <a:ext cx="190842" cy="211545"/>
                    </a:xfrm>
                    <a:prstGeom prst="rect">
                      <a:avLst/>
                    </a:prstGeom>
                    <a:effectLst>
                      <a:reflection blurRad="6350" stA="52000" endA="300" endPos="35000" dir="5400000" sy="-100000" algn="bl" rotWithShape="0"/>
                    </a:effectLst>
                  </p:spPr>
                </p:pic>
                <p:pic>
                  <p:nvPicPr>
                    <p:cNvPr id="185" name="Picture 102" descr="D:\Documents and Settings\sbeaver\My Documents\documents\packet\icons\IP phone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3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6812092" y="3742180"/>
                      <a:ext cx="128209" cy="102687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pic>
                  <p:nvPicPr>
                    <p:cNvPr id="186" name="Picture 35" descr="D:\Documents and Settings\sbeaver\My Documents\documents\packet\icons\pc.jpg"/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1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6812771" y="3599067"/>
                      <a:ext cx="138816" cy="115422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sp>
                  <p:nvSpPr>
                    <p:cNvPr id="187" name="Freeform 186"/>
                    <p:cNvSpPr/>
                    <p:nvPr/>
                  </p:nvSpPr>
                  <p:spPr bwMode="auto">
                    <a:xfrm>
                      <a:off x="6770048" y="3752566"/>
                      <a:ext cx="51914" cy="57211"/>
                    </a:xfrm>
                    <a:custGeom>
                      <a:avLst/>
                      <a:gdLst>
                        <a:gd name="connsiteX0" fmla="*/ 54388 w 54388"/>
                        <a:gd name="connsiteY0" fmla="*/ 57787 h 57787"/>
                        <a:gd name="connsiteX1" fmla="*/ 0 w 54388"/>
                        <a:gd name="connsiteY1" fmla="*/ 0 h 5778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4388" h="57787">
                          <a:moveTo>
                            <a:pt x="54388" y="57787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noFill/>
                    <a:ln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algn="ctr" eaLnBrk="0" hangingPunct="0">
                        <a:spcBef>
                          <a:spcPct val="20000"/>
                        </a:spcBef>
                        <a:buClr>
                          <a:srgbClr val="F4BF17"/>
                        </a:buClr>
                        <a:buSzPct val="40000"/>
                        <a:buFont typeface="Marlett" pitchFamily="2" charset="2"/>
                        <a:buChar char="g"/>
                        <a:defRPr/>
                      </a:pPr>
                      <a:endParaRPr lang="it-IT"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88" name="Freeform 187"/>
                    <p:cNvSpPr/>
                    <p:nvPr/>
                  </p:nvSpPr>
                  <p:spPr bwMode="auto">
                    <a:xfrm>
                      <a:off x="6544383" y="3632846"/>
                      <a:ext cx="279698" cy="33902"/>
                    </a:xfrm>
                    <a:custGeom>
                      <a:avLst/>
                      <a:gdLst>
                        <a:gd name="connsiteX0" fmla="*/ 0 w 288575"/>
                        <a:gd name="connsiteY0" fmla="*/ 0 h 34768"/>
                        <a:gd name="connsiteX1" fmla="*/ 288575 w 288575"/>
                        <a:gd name="connsiteY1" fmla="*/ 34768 h 3476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88575" h="34768">
                          <a:moveTo>
                            <a:pt x="0" y="0"/>
                          </a:moveTo>
                          <a:lnTo>
                            <a:pt x="288575" y="34768"/>
                          </a:lnTo>
                        </a:path>
                      </a:pathLst>
                    </a:custGeom>
                    <a:noFill/>
                    <a:ln w="9525" cap="flat" cmpd="sng" algn="ctr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anchor="ctr"/>
                    <a:lstStyle/>
                    <a:p>
                      <a:pPr algn="ctr" eaLnBrk="0" hangingPunct="0">
                        <a:spcBef>
                          <a:spcPct val="20000"/>
                        </a:spcBef>
                        <a:buClr>
                          <a:srgbClr val="F4BF17"/>
                        </a:buClr>
                        <a:buSzPct val="40000"/>
                        <a:buFont typeface="Marlett" pitchFamily="2" charset="2"/>
                        <a:buChar char="g"/>
                        <a:defRPr/>
                      </a:pPr>
                      <a:endParaRPr lang="it-IT">
                        <a:ea typeface="ＭＳ Ｐゴシック" pitchFamily="34" charset="-128"/>
                      </a:endParaRPr>
                    </a:p>
                  </p:txBody>
                </p:sp>
                <p:pic>
                  <p:nvPicPr>
                    <p:cNvPr id="189" name="Picture 266" descr="Ngrg.jpg"/>
                    <p:cNvPicPr>
                      <a:picLocks noChangeAspect="1"/>
                    </p:cNvPicPr>
                    <p:nvPr/>
                  </p:nvPicPr>
                  <p:blipFill>
                    <a:blip r:embed="rId10" cstate="print"/>
                    <a:srcRect/>
                    <a:stretch>
                      <a:fillRect/>
                    </a:stretch>
                  </p:blipFill>
                  <p:spPr bwMode="auto">
                    <a:xfrm>
                      <a:off x="6583528" y="3633267"/>
                      <a:ext cx="206176" cy="148715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</p:grpSp>
            </p:grpSp>
            <p:grpSp>
              <p:nvGrpSpPr>
                <p:cNvPr id="107" name="Group 106"/>
                <p:cNvGrpSpPr/>
                <p:nvPr/>
              </p:nvGrpSpPr>
              <p:grpSpPr>
                <a:xfrm>
                  <a:off x="4312178" y="4304174"/>
                  <a:ext cx="606848" cy="284204"/>
                  <a:chOff x="4312178" y="4304174"/>
                  <a:chExt cx="606848" cy="284204"/>
                </a:xfrm>
              </p:grpSpPr>
              <p:pic>
                <p:nvPicPr>
                  <p:cNvPr id="191" name="Picture 119" descr="D:\Documents and Settings\sbeaver\My Documents\documents\packet\icons\DSLAM.jpg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lum contrast="40000"/>
                    <a:duotone>
                      <a:prstClr val="black"/>
                      <a:schemeClr val="accent3">
                        <a:tint val="45000"/>
                        <a:satMod val="400000"/>
                      </a:schemeClr>
                    </a:duotone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4728148" y="4304174"/>
                    <a:ext cx="190878" cy="212093"/>
                  </a:xfrm>
                  <a:prstGeom prst="rect">
                    <a:avLst/>
                  </a:prstGeom>
                  <a:effectLst>
                    <a:reflection blurRad="6350" stA="52000" endA="300" endPos="35000" dir="5400000" sy="-100000" algn="bl" rotWithShape="0"/>
                  </a:effectLst>
                </p:spPr>
              </p:pic>
              <p:pic>
                <p:nvPicPr>
                  <p:cNvPr id="192" name="Picture 255" descr="Ngrg.jpg"/>
                  <p:cNvPicPr>
                    <a:picLocks noChangeAspect="1"/>
                  </p:cNvPicPr>
                  <p:nvPr/>
                </p:nvPicPr>
                <p:blipFill>
                  <a:blip r:embed="rId10" cstate="print"/>
                  <a:srcRect/>
                  <a:stretch>
                    <a:fillRect/>
                  </a:stretch>
                </p:blipFill>
                <p:spPr bwMode="auto">
                  <a:xfrm>
                    <a:off x="4487906" y="4359316"/>
                    <a:ext cx="206074" cy="14920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93" name="Picture 35" descr="D:\Documents and Settings\sbeaver\My Documents\documents\packet\icons\pc.jpg"/>
                  <p:cNvPicPr>
                    <a:picLocks noChangeAspect="1" noChangeArrowheads="1"/>
                  </p:cNvPicPr>
                  <p:nvPr/>
                </p:nvPicPr>
                <p:blipFill>
                  <a:blip r:embed="rId11" cstate="print"/>
                  <a:srcRect/>
                  <a:stretch>
                    <a:fillRect/>
                  </a:stretch>
                </p:blipFill>
                <p:spPr bwMode="auto">
                  <a:xfrm>
                    <a:off x="4318404" y="4472577"/>
                    <a:ext cx="138747" cy="115801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94" name="Picture 102" descr="D:\Documents and Settings\sbeaver\My Documents\documents\packet\icons\IP phone.jpg"/>
                  <p:cNvPicPr>
                    <a:picLocks noChangeAspect="1" noChangeArrowheads="1"/>
                  </p:cNvPicPr>
                  <p:nvPr/>
                </p:nvPicPr>
                <p:blipFill>
                  <a:blip r:embed="rId13" cstate="print"/>
                  <a:srcRect/>
                  <a:stretch>
                    <a:fillRect/>
                  </a:stretch>
                </p:blipFill>
                <p:spPr bwMode="auto">
                  <a:xfrm>
                    <a:off x="4312178" y="4336521"/>
                    <a:ext cx="128145" cy="10302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sp>
                <p:nvSpPr>
                  <p:cNvPr id="195" name="Freeform 194"/>
                  <p:cNvSpPr/>
                  <p:nvPr/>
                </p:nvSpPr>
                <p:spPr bwMode="auto">
                  <a:xfrm>
                    <a:off x="4622513" y="4382915"/>
                    <a:ext cx="104887" cy="6357"/>
                  </a:xfrm>
                  <a:custGeom>
                    <a:avLst/>
                    <a:gdLst>
                      <a:gd name="connsiteX0" fmla="*/ 0 w 108776"/>
                      <a:gd name="connsiteY0" fmla="*/ 6798 h 6798"/>
                      <a:gd name="connsiteX1" fmla="*/ 108776 w 108776"/>
                      <a:gd name="connsiteY1" fmla="*/ 0 h 67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8776" h="6798">
                        <a:moveTo>
                          <a:pt x="0" y="6798"/>
                        </a:moveTo>
                        <a:lnTo>
                          <a:pt x="108776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96" name="Freeform 195"/>
                  <p:cNvSpPr/>
                  <p:nvPr/>
                </p:nvSpPr>
                <p:spPr bwMode="auto">
                  <a:xfrm>
                    <a:off x="4447702" y="4444364"/>
                    <a:ext cx="85817" cy="62508"/>
                  </a:xfrm>
                  <a:custGeom>
                    <a:avLst/>
                    <a:gdLst>
                      <a:gd name="connsiteX0" fmla="*/ 0 w 88380"/>
                      <a:gd name="connsiteY0" fmla="*/ 64586 h 64586"/>
                      <a:gd name="connsiteX1" fmla="*/ 88380 w 88380"/>
                      <a:gd name="connsiteY1" fmla="*/ 0 h 645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8380" h="64586">
                        <a:moveTo>
                          <a:pt x="0" y="64586"/>
                        </a:moveTo>
                        <a:lnTo>
                          <a:pt x="88380" y="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98" name="Freeform 197"/>
                  <p:cNvSpPr/>
                  <p:nvPr/>
                </p:nvSpPr>
                <p:spPr bwMode="auto">
                  <a:xfrm>
                    <a:off x="4434988" y="4370201"/>
                    <a:ext cx="96411" cy="10595"/>
                  </a:xfrm>
                  <a:custGeom>
                    <a:avLst/>
                    <a:gdLst>
                      <a:gd name="connsiteX0" fmla="*/ 0 w 100827"/>
                      <a:gd name="connsiteY0" fmla="*/ 0 h 10430"/>
                      <a:gd name="connsiteX1" fmla="*/ 100827 w 100827"/>
                      <a:gd name="connsiteY1" fmla="*/ 10430 h 104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00827" h="10430">
                        <a:moveTo>
                          <a:pt x="0" y="0"/>
                        </a:moveTo>
                        <a:lnTo>
                          <a:pt x="100827" y="10430"/>
                        </a:lnTo>
                      </a:path>
                    </a:pathLst>
                  </a:custGeom>
                  <a:noFill/>
                  <a:ln w="9525" cap="flat" cmpd="sng" algn="ctr">
                    <a:solidFill>
                      <a:schemeClr val="tx1">
                        <a:lumMod val="85000"/>
                        <a:lumOff val="1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anchor="ctr"/>
                  <a:lstStyle/>
                  <a:p>
                    <a:pPr algn="ctr" eaLnBrk="0" hangingPunct="0">
                      <a:spcBef>
                        <a:spcPct val="20000"/>
                      </a:spcBef>
                      <a:buClr>
                        <a:srgbClr val="F4BF17"/>
                      </a:buClr>
                      <a:buSzPct val="40000"/>
                      <a:buFont typeface="Marlett" pitchFamily="2" charset="2"/>
                      <a:buChar char="g"/>
                      <a:defRPr/>
                    </a:pPr>
                    <a:endParaRPr lang="it-IT"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60" name="Rectangle 14"/>
                <p:cNvSpPr>
                  <a:spLocks noChangeArrowheads="1"/>
                </p:cNvSpPr>
                <p:nvPr/>
              </p:nvSpPr>
              <p:spPr bwMode="auto">
                <a:xfrm>
                  <a:off x="2968861" y="4134414"/>
                  <a:ext cx="1297779" cy="2978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>
                    <a:rot lat="910365" lon="2908724" rev="5143582"/>
                  </a:camera>
                  <a:lightRig rig="threePt" dir="t"/>
                </a:scene3d>
              </p:spPr>
              <p:txBody>
                <a:bodyPr wrap="none">
                  <a:spAutoFit/>
                </a:bodyPr>
                <a:lstStyle/>
                <a:p>
                  <a:pPr eaLnBrk="0" hangingPunct="0">
                    <a:spcBef>
                      <a:spcPct val="50000"/>
                    </a:spcBef>
                    <a:buSzPct val="40000"/>
                    <a:defRPr/>
                  </a:pPr>
                  <a:r>
                    <a:rPr lang="it-IT" sz="1400" dirty="0">
                      <a:solidFill>
                        <a:srgbClr val="FF0000"/>
                      </a:solidFill>
                      <a:latin typeface="Calibri" pitchFamily="34" charset="0"/>
                      <a:ea typeface="ＭＳ Ｐゴシック" pitchFamily="34" charset="-128"/>
                    </a:rPr>
                    <a:t>Access Network</a:t>
                  </a:r>
                </a:p>
              </p:txBody>
            </p:sp>
            <p:pic>
              <p:nvPicPr>
                <p:cNvPr id="165" name="Picture 2"/>
                <p:cNvPicPr>
                  <a:picLocks noChangeAspect="1"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6140587" y="3832658"/>
                  <a:ext cx="184864" cy="330848"/>
                </a:xfrm>
                <a:prstGeom prst="rect">
                  <a:avLst/>
                </a:prstGeom>
                <a:effectLst>
                  <a:reflection blurRad="6350" stA="52000" endA="300" endPos="35000" dir="5400000" sy="-100000" algn="bl" rotWithShape="0"/>
                </a:effectLst>
              </p:spPr>
            </p:pic>
            <p:pic>
              <p:nvPicPr>
                <p:cNvPr id="166" name="Picture 2"/>
                <p:cNvPicPr>
                  <a:picLocks noChangeAspect="1"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5650127" y="3645873"/>
                  <a:ext cx="184864" cy="330848"/>
                </a:xfrm>
                <a:prstGeom prst="rect">
                  <a:avLst/>
                </a:prstGeom>
                <a:effectLst>
                  <a:reflection blurRad="6350" stA="52000" endA="300" endPos="35000" dir="5400000" sy="-100000" algn="bl" rotWithShape="0"/>
                </a:effectLst>
              </p:spPr>
            </p:pic>
            <p:sp>
              <p:nvSpPr>
                <p:cNvPr id="168" name="Cloud 167"/>
                <p:cNvSpPr/>
                <p:nvPr/>
              </p:nvSpPr>
              <p:spPr bwMode="auto">
                <a:xfrm>
                  <a:off x="5306240" y="3926899"/>
                  <a:ext cx="869052" cy="382095"/>
                </a:xfrm>
                <a:prstGeom prst="cloud">
                  <a:avLst/>
                </a:prstGeom>
                <a:gradFill rotWithShape="1">
                  <a:gsLst>
                    <a:gs pos="0">
                      <a:srgbClr val="E8B7B7">
                        <a:shade val="51000"/>
                        <a:satMod val="130000"/>
                      </a:srgbClr>
                    </a:gs>
                    <a:gs pos="80000">
                      <a:srgbClr val="E8B7B7">
                        <a:shade val="93000"/>
                        <a:satMod val="130000"/>
                      </a:srgbClr>
                    </a:gs>
                    <a:gs pos="100000">
                      <a:srgbClr val="E8B7B7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>
                  <a:noFill/>
                  <a:headEnd type="none" w="med" len="med"/>
                  <a:tailEnd type="none" w="med" len="med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18736398" lon="1357748" rev="20571451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p:spPr>
              <p:txBody>
                <a:bodyPr anchor="ctr"/>
                <a:lstStyle/>
                <a:p>
                  <a:pPr algn="ctr" eaLnBrk="0" hangingPunct="0">
                    <a:spcBef>
                      <a:spcPct val="20000"/>
                    </a:spcBef>
                    <a:buClr>
                      <a:srgbClr val="F4BF17"/>
                    </a:buClr>
                    <a:buSzPct val="40000"/>
                    <a:buFont typeface="Marlett" pitchFamily="2" charset="2"/>
                    <a:buNone/>
                    <a:defRPr/>
                  </a:pPr>
                  <a:r>
                    <a:rPr lang="it-IT" sz="1200" dirty="0">
                      <a:solidFill>
                        <a:srgbClr val="C00000"/>
                      </a:solidFill>
                      <a:latin typeface="Interstate-Light"/>
                      <a:ea typeface="ＭＳ Ｐゴシック" pitchFamily="34" charset="-128"/>
                    </a:rPr>
                    <a:t>MNO</a:t>
                  </a:r>
                </a:p>
              </p:txBody>
            </p:sp>
            <p:pic>
              <p:nvPicPr>
                <p:cNvPr id="169" name="Picture 2"/>
                <p:cNvPicPr>
                  <a:picLocks noChangeAspect="1"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5157521" y="3841106"/>
                  <a:ext cx="184864" cy="330848"/>
                </a:xfrm>
                <a:prstGeom prst="rect">
                  <a:avLst/>
                </a:prstGeom>
                <a:effectLst>
                  <a:reflection blurRad="6350" stA="52000" endA="300" endPos="35000" dir="5400000" sy="-100000" algn="bl" rotWithShape="0"/>
                </a:effectLst>
              </p:spPr>
            </p:pic>
          </p:grpSp>
        </p:grpSp>
        <p:sp>
          <p:nvSpPr>
            <p:cNvPr id="170" name="Freeform 154"/>
            <p:cNvSpPr>
              <a:spLocks noChangeArrowheads="1"/>
            </p:cNvSpPr>
            <p:nvPr/>
          </p:nvSpPr>
          <p:spPr bwMode="auto">
            <a:xfrm>
              <a:off x="5230904" y="4112158"/>
              <a:ext cx="99862" cy="4609"/>
            </a:xfrm>
            <a:custGeom>
              <a:avLst/>
              <a:gdLst>
                <a:gd name="T0" fmla="*/ 0 w 102591"/>
                <a:gd name="T1" fmla="*/ 0 h 4461"/>
                <a:gd name="T2" fmla="*/ 105610 w 102591"/>
                <a:gd name="T3" fmla="*/ 6189 h 4461"/>
                <a:gd name="T4" fmla="*/ 0 60000 65536"/>
                <a:gd name="T5" fmla="*/ 0 60000 65536"/>
                <a:gd name="T6" fmla="*/ 0 w 102591"/>
                <a:gd name="T7" fmla="*/ 0 h 4461"/>
                <a:gd name="T8" fmla="*/ 102591 w 102591"/>
                <a:gd name="T9" fmla="*/ 4461 h 446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02591" h="4461">
                  <a:moveTo>
                    <a:pt x="0" y="0"/>
                  </a:moveTo>
                  <a:lnTo>
                    <a:pt x="102591" y="4461"/>
                  </a:lnTo>
                </a:path>
              </a:pathLst>
            </a:custGeom>
            <a:noFill/>
            <a:ln w="25400" algn="ctr">
              <a:noFill/>
              <a:round/>
              <a:headEnd/>
              <a:tailEnd/>
            </a:ln>
          </p:spPr>
          <p:txBody>
            <a:bodyPr/>
            <a:lstStyle/>
            <a:p>
              <a:pPr algn="ctr" eaLnBrk="0" hangingPunct="0">
                <a:lnSpc>
                  <a:spcPct val="130000"/>
                </a:lnSpc>
                <a:spcBef>
                  <a:spcPct val="20000"/>
                </a:spcBef>
                <a:buClr>
                  <a:srgbClr val="F4BF17"/>
                </a:buClr>
                <a:buFont typeface="Wingdings" pitchFamily="2" charset="2"/>
                <a:buNone/>
              </a:pPr>
              <a:endParaRPr lang="it-IT" sz="1200" b="1" i="1"/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7565186" y="1287649"/>
            <a:ext cx="2015146" cy="4289144"/>
            <a:chOff x="7565186" y="1287649"/>
            <a:chExt cx="2015146" cy="4289144"/>
          </a:xfrm>
        </p:grpSpPr>
        <p:sp>
          <p:nvSpPr>
            <p:cNvPr id="111" name="Freeform 110"/>
            <p:cNvSpPr/>
            <p:nvPr/>
          </p:nvSpPr>
          <p:spPr bwMode="auto">
            <a:xfrm flipH="1">
              <a:off x="7565186" y="1287649"/>
              <a:ext cx="2015146" cy="4289144"/>
            </a:xfrm>
            <a:custGeom>
              <a:avLst/>
              <a:gdLst>
                <a:gd name="connsiteX0" fmla="*/ 0 w 2178658"/>
                <a:gd name="connsiteY0" fmla="*/ 437322 h 3562184"/>
                <a:gd name="connsiteX1" fmla="*/ 0 w 2178658"/>
                <a:gd name="connsiteY1" fmla="*/ 3562184 h 3562184"/>
                <a:gd name="connsiteX2" fmla="*/ 1431235 w 2178658"/>
                <a:gd name="connsiteY2" fmla="*/ 3562184 h 3562184"/>
                <a:gd name="connsiteX3" fmla="*/ 1431235 w 2178658"/>
                <a:gd name="connsiteY3" fmla="*/ 3228230 h 3562184"/>
                <a:gd name="connsiteX4" fmla="*/ 1765190 w 2178658"/>
                <a:gd name="connsiteY4" fmla="*/ 3228230 h 3562184"/>
                <a:gd name="connsiteX5" fmla="*/ 1773141 w 2178658"/>
                <a:gd name="connsiteY5" fmla="*/ 3387256 h 3562184"/>
                <a:gd name="connsiteX6" fmla="*/ 2146852 w 2178658"/>
                <a:gd name="connsiteY6" fmla="*/ 2989690 h 3562184"/>
                <a:gd name="connsiteX7" fmla="*/ 1781092 w 2178658"/>
                <a:gd name="connsiteY7" fmla="*/ 2576223 h 3562184"/>
                <a:gd name="connsiteX8" fmla="*/ 1781092 w 2178658"/>
                <a:gd name="connsiteY8" fmla="*/ 2814762 h 3562184"/>
                <a:gd name="connsiteX9" fmla="*/ 1439186 w 2178658"/>
                <a:gd name="connsiteY9" fmla="*/ 2814762 h 3562184"/>
                <a:gd name="connsiteX10" fmla="*/ 1439186 w 2178658"/>
                <a:gd name="connsiteY10" fmla="*/ 2226365 h 3562184"/>
                <a:gd name="connsiteX11" fmla="*/ 1781092 w 2178658"/>
                <a:gd name="connsiteY11" fmla="*/ 2226365 h 3562184"/>
                <a:gd name="connsiteX12" fmla="*/ 1781092 w 2178658"/>
                <a:gd name="connsiteY12" fmla="*/ 2409245 h 3562184"/>
                <a:gd name="connsiteX13" fmla="*/ 2178658 w 2178658"/>
                <a:gd name="connsiteY13" fmla="*/ 2003729 h 3562184"/>
                <a:gd name="connsiteX14" fmla="*/ 1828800 w 2178658"/>
                <a:gd name="connsiteY14" fmla="*/ 1669774 h 3562184"/>
                <a:gd name="connsiteX15" fmla="*/ 1836752 w 2178658"/>
                <a:gd name="connsiteY15" fmla="*/ 1900362 h 3562184"/>
                <a:gd name="connsiteX16" fmla="*/ 1447138 w 2178658"/>
                <a:gd name="connsiteY16" fmla="*/ 1908313 h 3562184"/>
                <a:gd name="connsiteX17" fmla="*/ 1455089 w 2178658"/>
                <a:gd name="connsiteY17" fmla="*/ 1375576 h 3562184"/>
                <a:gd name="connsiteX18" fmla="*/ 1796995 w 2178658"/>
                <a:gd name="connsiteY18" fmla="*/ 1375576 h 3562184"/>
                <a:gd name="connsiteX19" fmla="*/ 1804946 w 2178658"/>
                <a:gd name="connsiteY19" fmla="*/ 1534602 h 3562184"/>
                <a:gd name="connsiteX20" fmla="*/ 2154804 w 2178658"/>
                <a:gd name="connsiteY20" fmla="*/ 1137037 h 3562184"/>
                <a:gd name="connsiteX21" fmla="*/ 1789044 w 2178658"/>
                <a:gd name="connsiteY21" fmla="*/ 811033 h 3562184"/>
                <a:gd name="connsiteX22" fmla="*/ 1789044 w 2178658"/>
                <a:gd name="connsiteY22" fmla="*/ 1017767 h 3562184"/>
                <a:gd name="connsiteX23" fmla="*/ 1470992 w 2178658"/>
                <a:gd name="connsiteY23" fmla="*/ 1017767 h 3562184"/>
                <a:gd name="connsiteX24" fmla="*/ 1478943 w 2178658"/>
                <a:gd name="connsiteY24" fmla="*/ 628153 h 3562184"/>
                <a:gd name="connsiteX25" fmla="*/ 1781092 w 2178658"/>
                <a:gd name="connsiteY25" fmla="*/ 628153 h 3562184"/>
                <a:gd name="connsiteX26" fmla="*/ 1789044 w 2178658"/>
                <a:gd name="connsiteY26" fmla="*/ 715617 h 3562184"/>
                <a:gd name="connsiteX27" fmla="*/ 2122998 w 2178658"/>
                <a:gd name="connsiteY27" fmla="*/ 341906 h 3562184"/>
                <a:gd name="connsiteX28" fmla="*/ 1796995 w 2178658"/>
                <a:gd name="connsiteY28" fmla="*/ 103367 h 3562184"/>
                <a:gd name="connsiteX29" fmla="*/ 1789044 w 2178658"/>
                <a:gd name="connsiteY29" fmla="*/ 286247 h 3562184"/>
                <a:gd name="connsiteX30" fmla="*/ 1455089 w 2178658"/>
                <a:gd name="connsiteY30" fmla="*/ 278296 h 3562184"/>
                <a:gd name="connsiteX31" fmla="*/ 1463040 w 2178658"/>
                <a:gd name="connsiteY31" fmla="*/ 7951 h 3562184"/>
                <a:gd name="connsiteX32" fmla="*/ 23854 w 2178658"/>
                <a:gd name="connsiteY32" fmla="*/ 0 h 3562184"/>
                <a:gd name="connsiteX33" fmla="*/ 0 w 2178658"/>
                <a:gd name="connsiteY33" fmla="*/ 437322 h 3562184"/>
                <a:gd name="connsiteX0" fmla="*/ 0 w 2178658"/>
                <a:gd name="connsiteY0" fmla="*/ 437322 h 3562184"/>
                <a:gd name="connsiteX1" fmla="*/ 0 w 2178658"/>
                <a:gd name="connsiteY1" fmla="*/ 3562184 h 3562184"/>
                <a:gd name="connsiteX2" fmla="*/ 1431235 w 2178658"/>
                <a:gd name="connsiteY2" fmla="*/ 3562184 h 3562184"/>
                <a:gd name="connsiteX3" fmla="*/ 1431235 w 2178658"/>
                <a:gd name="connsiteY3" fmla="*/ 3228230 h 3562184"/>
                <a:gd name="connsiteX4" fmla="*/ 1765190 w 2178658"/>
                <a:gd name="connsiteY4" fmla="*/ 3228230 h 3562184"/>
                <a:gd name="connsiteX5" fmla="*/ 1773141 w 2178658"/>
                <a:gd name="connsiteY5" fmla="*/ 3387256 h 3562184"/>
                <a:gd name="connsiteX6" fmla="*/ 2146852 w 2178658"/>
                <a:gd name="connsiteY6" fmla="*/ 2989690 h 3562184"/>
                <a:gd name="connsiteX7" fmla="*/ 1781092 w 2178658"/>
                <a:gd name="connsiteY7" fmla="*/ 2576223 h 3562184"/>
                <a:gd name="connsiteX8" fmla="*/ 1781092 w 2178658"/>
                <a:gd name="connsiteY8" fmla="*/ 2814762 h 3562184"/>
                <a:gd name="connsiteX9" fmla="*/ 1439186 w 2178658"/>
                <a:gd name="connsiteY9" fmla="*/ 2814762 h 3562184"/>
                <a:gd name="connsiteX10" fmla="*/ 1439186 w 2178658"/>
                <a:gd name="connsiteY10" fmla="*/ 2226365 h 3562184"/>
                <a:gd name="connsiteX11" fmla="*/ 1781092 w 2178658"/>
                <a:gd name="connsiteY11" fmla="*/ 2226365 h 3562184"/>
                <a:gd name="connsiteX12" fmla="*/ 1781092 w 2178658"/>
                <a:gd name="connsiteY12" fmla="*/ 2409245 h 3562184"/>
                <a:gd name="connsiteX13" fmla="*/ 2178658 w 2178658"/>
                <a:gd name="connsiteY13" fmla="*/ 2003729 h 3562184"/>
                <a:gd name="connsiteX14" fmla="*/ 1828800 w 2178658"/>
                <a:gd name="connsiteY14" fmla="*/ 1669774 h 3562184"/>
                <a:gd name="connsiteX15" fmla="*/ 1836752 w 2178658"/>
                <a:gd name="connsiteY15" fmla="*/ 1900362 h 3562184"/>
                <a:gd name="connsiteX16" fmla="*/ 1447138 w 2178658"/>
                <a:gd name="connsiteY16" fmla="*/ 1908313 h 3562184"/>
                <a:gd name="connsiteX17" fmla="*/ 1455089 w 2178658"/>
                <a:gd name="connsiteY17" fmla="*/ 1375576 h 3562184"/>
                <a:gd name="connsiteX18" fmla="*/ 1796995 w 2178658"/>
                <a:gd name="connsiteY18" fmla="*/ 1375576 h 3562184"/>
                <a:gd name="connsiteX19" fmla="*/ 1804946 w 2178658"/>
                <a:gd name="connsiteY19" fmla="*/ 1534602 h 3562184"/>
                <a:gd name="connsiteX20" fmla="*/ 2154804 w 2178658"/>
                <a:gd name="connsiteY20" fmla="*/ 1137037 h 3562184"/>
                <a:gd name="connsiteX21" fmla="*/ 1789044 w 2178658"/>
                <a:gd name="connsiteY21" fmla="*/ 811033 h 3562184"/>
                <a:gd name="connsiteX22" fmla="*/ 1789044 w 2178658"/>
                <a:gd name="connsiteY22" fmla="*/ 1017767 h 3562184"/>
                <a:gd name="connsiteX23" fmla="*/ 1470992 w 2178658"/>
                <a:gd name="connsiteY23" fmla="*/ 1017767 h 3562184"/>
                <a:gd name="connsiteX24" fmla="*/ 1478943 w 2178658"/>
                <a:gd name="connsiteY24" fmla="*/ 628153 h 3562184"/>
                <a:gd name="connsiteX25" fmla="*/ 1781092 w 2178658"/>
                <a:gd name="connsiteY25" fmla="*/ 628153 h 3562184"/>
                <a:gd name="connsiteX26" fmla="*/ 1789044 w 2178658"/>
                <a:gd name="connsiteY26" fmla="*/ 715617 h 3562184"/>
                <a:gd name="connsiteX27" fmla="*/ 2122998 w 2178658"/>
                <a:gd name="connsiteY27" fmla="*/ 341906 h 3562184"/>
                <a:gd name="connsiteX28" fmla="*/ 1796995 w 2178658"/>
                <a:gd name="connsiteY28" fmla="*/ 103367 h 3562184"/>
                <a:gd name="connsiteX29" fmla="*/ 1789044 w 2178658"/>
                <a:gd name="connsiteY29" fmla="*/ 286247 h 3562184"/>
                <a:gd name="connsiteX30" fmla="*/ 1455089 w 2178658"/>
                <a:gd name="connsiteY30" fmla="*/ 278296 h 3562184"/>
                <a:gd name="connsiteX31" fmla="*/ 1463040 w 2178658"/>
                <a:gd name="connsiteY31" fmla="*/ 7951 h 3562184"/>
                <a:gd name="connsiteX32" fmla="*/ 0 w 2178658"/>
                <a:gd name="connsiteY32" fmla="*/ 0 h 3562184"/>
                <a:gd name="connsiteX33" fmla="*/ 0 w 2178658"/>
                <a:gd name="connsiteY33" fmla="*/ 437322 h 3562184"/>
                <a:gd name="connsiteX0" fmla="*/ 0 w 2178658"/>
                <a:gd name="connsiteY0" fmla="*/ 437322 h 3562184"/>
                <a:gd name="connsiteX1" fmla="*/ 0 w 2178658"/>
                <a:gd name="connsiteY1" fmla="*/ 3562184 h 3562184"/>
                <a:gd name="connsiteX2" fmla="*/ 1431235 w 2178658"/>
                <a:gd name="connsiteY2" fmla="*/ 3562184 h 3562184"/>
                <a:gd name="connsiteX3" fmla="*/ 1439999 w 2178658"/>
                <a:gd name="connsiteY3" fmla="*/ 3202184 h 3562184"/>
                <a:gd name="connsiteX4" fmla="*/ 1765190 w 2178658"/>
                <a:gd name="connsiteY4" fmla="*/ 3228230 h 3562184"/>
                <a:gd name="connsiteX5" fmla="*/ 1773141 w 2178658"/>
                <a:gd name="connsiteY5" fmla="*/ 3387256 h 3562184"/>
                <a:gd name="connsiteX6" fmla="*/ 2146852 w 2178658"/>
                <a:gd name="connsiteY6" fmla="*/ 2989690 h 3562184"/>
                <a:gd name="connsiteX7" fmla="*/ 1781092 w 2178658"/>
                <a:gd name="connsiteY7" fmla="*/ 2576223 h 3562184"/>
                <a:gd name="connsiteX8" fmla="*/ 1781092 w 2178658"/>
                <a:gd name="connsiteY8" fmla="*/ 2814762 h 3562184"/>
                <a:gd name="connsiteX9" fmla="*/ 1439186 w 2178658"/>
                <a:gd name="connsiteY9" fmla="*/ 2814762 h 3562184"/>
                <a:gd name="connsiteX10" fmla="*/ 1439186 w 2178658"/>
                <a:gd name="connsiteY10" fmla="*/ 2226365 h 3562184"/>
                <a:gd name="connsiteX11" fmla="*/ 1781092 w 2178658"/>
                <a:gd name="connsiteY11" fmla="*/ 2226365 h 3562184"/>
                <a:gd name="connsiteX12" fmla="*/ 1781092 w 2178658"/>
                <a:gd name="connsiteY12" fmla="*/ 2409245 h 3562184"/>
                <a:gd name="connsiteX13" fmla="*/ 2178658 w 2178658"/>
                <a:gd name="connsiteY13" fmla="*/ 2003729 h 3562184"/>
                <a:gd name="connsiteX14" fmla="*/ 1828800 w 2178658"/>
                <a:gd name="connsiteY14" fmla="*/ 1669774 h 3562184"/>
                <a:gd name="connsiteX15" fmla="*/ 1836752 w 2178658"/>
                <a:gd name="connsiteY15" fmla="*/ 1900362 h 3562184"/>
                <a:gd name="connsiteX16" fmla="*/ 1447138 w 2178658"/>
                <a:gd name="connsiteY16" fmla="*/ 1908313 h 3562184"/>
                <a:gd name="connsiteX17" fmla="*/ 1455089 w 2178658"/>
                <a:gd name="connsiteY17" fmla="*/ 1375576 h 3562184"/>
                <a:gd name="connsiteX18" fmla="*/ 1796995 w 2178658"/>
                <a:gd name="connsiteY18" fmla="*/ 1375576 h 3562184"/>
                <a:gd name="connsiteX19" fmla="*/ 1804946 w 2178658"/>
                <a:gd name="connsiteY19" fmla="*/ 1534602 h 3562184"/>
                <a:gd name="connsiteX20" fmla="*/ 2154804 w 2178658"/>
                <a:gd name="connsiteY20" fmla="*/ 1137037 h 3562184"/>
                <a:gd name="connsiteX21" fmla="*/ 1789044 w 2178658"/>
                <a:gd name="connsiteY21" fmla="*/ 811033 h 3562184"/>
                <a:gd name="connsiteX22" fmla="*/ 1789044 w 2178658"/>
                <a:gd name="connsiteY22" fmla="*/ 1017767 h 3562184"/>
                <a:gd name="connsiteX23" fmla="*/ 1470992 w 2178658"/>
                <a:gd name="connsiteY23" fmla="*/ 1017767 h 3562184"/>
                <a:gd name="connsiteX24" fmla="*/ 1478943 w 2178658"/>
                <a:gd name="connsiteY24" fmla="*/ 628153 h 3562184"/>
                <a:gd name="connsiteX25" fmla="*/ 1781092 w 2178658"/>
                <a:gd name="connsiteY25" fmla="*/ 628153 h 3562184"/>
                <a:gd name="connsiteX26" fmla="*/ 1789044 w 2178658"/>
                <a:gd name="connsiteY26" fmla="*/ 715617 h 3562184"/>
                <a:gd name="connsiteX27" fmla="*/ 2122998 w 2178658"/>
                <a:gd name="connsiteY27" fmla="*/ 341906 h 3562184"/>
                <a:gd name="connsiteX28" fmla="*/ 1796995 w 2178658"/>
                <a:gd name="connsiteY28" fmla="*/ 103367 h 3562184"/>
                <a:gd name="connsiteX29" fmla="*/ 1789044 w 2178658"/>
                <a:gd name="connsiteY29" fmla="*/ 286247 h 3562184"/>
                <a:gd name="connsiteX30" fmla="*/ 1455089 w 2178658"/>
                <a:gd name="connsiteY30" fmla="*/ 278296 h 3562184"/>
                <a:gd name="connsiteX31" fmla="*/ 1463040 w 2178658"/>
                <a:gd name="connsiteY31" fmla="*/ 7951 h 3562184"/>
                <a:gd name="connsiteX32" fmla="*/ 0 w 2178658"/>
                <a:gd name="connsiteY32" fmla="*/ 0 h 3562184"/>
                <a:gd name="connsiteX33" fmla="*/ 0 w 2178658"/>
                <a:gd name="connsiteY33" fmla="*/ 437322 h 3562184"/>
                <a:gd name="connsiteX0" fmla="*/ 0 w 2178658"/>
                <a:gd name="connsiteY0" fmla="*/ 437322 h 3562184"/>
                <a:gd name="connsiteX1" fmla="*/ 0 w 2178658"/>
                <a:gd name="connsiteY1" fmla="*/ 3562184 h 3562184"/>
                <a:gd name="connsiteX2" fmla="*/ 1431235 w 2178658"/>
                <a:gd name="connsiteY2" fmla="*/ 3562184 h 3562184"/>
                <a:gd name="connsiteX3" fmla="*/ 1439999 w 2178658"/>
                <a:gd name="connsiteY3" fmla="*/ 3202184 h 3562184"/>
                <a:gd name="connsiteX4" fmla="*/ 1761112 w 2178658"/>
                <a:gd name="connsiteY4" fmla="*/ 3202184 h 3562184"/>
                <a:gd name="connsiteX5" fmla="*/ 1773141 w 2178658"/>
                <a:gd name="connsiteY5" fmla="*/ 3387256 h 3562184"/>
                <a:gd name="connsiteX6" fmla="*/ 2146852 w 2178658"/>
                <a:gd name="connsiteY6" fmla="*/ 2989690 h 3562184"/>
                <a:gd name="connsiteX7" fmla="*/ 1781092 w 2178658"/>
                <a:gd name="connsiteY7" fmla="*/ 2576223 h 3562184"/>
                <a:gd name="connsiteX8" fmla="*/ 1781092 w 2178658"/>
                <a:gd name="connsiteY8" fmla="*/ 2814762 h 3562184"/>
                <a:gd name="connsiteX9" fmla="*/ 1439186 w 2178658"/>
                <a:gd name="connsiteY9" fmla="*/ 2814762 h 3562184"/>
                <a:gd name="connsiteX10" fmla="*/ 1439186 w 2178658"/>
                <a:gd name="connsiteY10" fmla="*/ 2226365 h 3562184"/>
                <a:gd name="connsiteX11" fmla="*/ 1781092 w 2178658"/>
                <a:gd name="connsiteY11" fmla="*/ 2226365 h 3562184"/>
                <a:gd name="connsiteX12" fmla="*/ 1781092 w 2178658"/>
                <a:gd name="connsiteY12" fmla="*/ 2409245 h 3562184"/>
                <a:gd name="connsiteX13" fmla="*/ 2178658 w 2178658"/>
                <a:gd name="connsiteY13" fmla="*/ 2003729 h 3562184"/>
                <a:gd name="connsiteX14" fmla="*/ 1828800 w 2178658"/>
                <a:gd name="connsiteY14" fmla="*/ 1669774 h 3562184"/>
                <a:gd name="connsiteX15" fmla="*/ 1836752 w 2178658"/>
                <a:gd name="connsiteY15" fmla="*/ 1900362 h 3562184"/>
                <a:gd name="connsiteX16" fmla="*/ 1447138 w 2178658"/>
                <a:gd name="connsiteY16" fmla="*/ 1908313 h 3562184"/>
                <a:gd name="connsiteX17" fmla="*/ 1455089 w 2178658"/>
                <a:gd name="connsiteY17" fmla="*/ 1375576 h 3562184"/>
                <a:gd name="connsiteX18" fmla="*/ 1796995 w 2178658"/>
                <a:gd name="connsiteY18" fmla="*/ 1375576 h 3562184"/>
                <a:gd name="connsiteX19" fmla="*/ 1804946 w 2178658"/>
                <a:gd name="connsiteY19" fmla="*/ 1534602 h 3562184"/>
                <a:gd name="connsiteX20" fmla="*/ 2154804 w 2178658"/>
                <a:gd name="connsiteY20" fmla="*/ 1137037 h 3562184"/>
                <a:gd name="connsiteX21" fmla="*/ 1789044 w 2178658"/>
                <a:gd name="connsiteY21" fmla="*/ 811033 h 3562184"/>
                <a:gd name="connsiteX22" fmla="*/ 1789044 w 2178658"/>
                <a:gd name="connsiteY22" fmla="*/ 1017767 h 3562184"/>
                <a:gd name="connsiteX23" fmla="*/ 1470992 w 2178658"/>
                <a:gd name="connsiteY23" fmla="*/ 1017767 h 3562184"/>
                <a:gd name="connsiteX24" fmla="*/ 1478943 w 2178658"/>
                <a:gd name="connsiteY24" fmla="*/ 628153 h 3562184"/>
                <a:gd name="connsiteX25" fmla="*/ 1781092 w 2178658"/>
                <a:gd name="connsiteY25" fmla="*/ 628153 h 3562184"/>
                <a:gd name="connsiteX26" fmla="*/ 1789044 w 2178658"/>
                <a:gd name="connsiteY26" fmla="*/ 715617 h 3562184"/>
                <a:gd name="connsiteX27" fmla="*/ 2122998 w 2178658"/>
                <a:gd name="connsiteY27" fmla="*/ 341906 h 3562184"/>
                <a:gd name="connsiteX28" fmla="*/ 1796995 w 2178658"/>
                <a:gd name="connsiteY28" fmla="*/ 103367 h 3562184"/>
                <a:gd name="connsiteX29" fmla="*/ 1789044 w 2178658"/>
                <a:gd name="connsiteY29" fmla="*/ 286247 h 3562184"/>
                <a:gd name="connsiteX30" fmla="*/ 1455089 w 2178658"/>
                <a:gd name="connsiteY30" fmla="*/ 278296 h 3562184"/>
                <a:gd name="connsiteX31" fmla="*/ 1463040 w 2178658"/>
                <a:gd name="connsiteY31" fmla="*/ 7951 h 3562184"/>
                <a:gd name="connsiteX32" fmla="*/ 0 w 2178658"/>
                <a:gd name="connsiteY32" fmla="*/ 0 h 3562184"/>
                <a:gd name="connsiteX33" fmla="*/ 0 w 2178658"/>
                <a:gd name="connsiteY33" fmla="*/ 437322 h 3562184"/>
                <a:gd name="connsiteX0" fmla="*/ 0 w 2178658"/>
                <a:gd name="connsiteY0" fmla="*/ 437322 h 3562184"/>
                <a:gd name="connsiteX1" fmla="*/ 0 w 2178658"/>
                <a:gd name="connsiteY1" fmla="*/ 3562184 h 3562184"/>
                <a:gd name="connsiteX2" fmla="*/ 1431235 w 2178658"/>
                <a:gd name="connsiteY2" fmla="*/ 3562184 h 3562184"/>
                <a:gd name="connsiteX3" fmla="*/ 1439999 w 2178658"/>
                <a:gd name="connsiteY3" fmla="*/ 3202184 h 3562184"/>
                <a:gd name="connsiteX4" fmla="*/ 1761112 w 2178658"/>
                <a:gd name="connsiteY4" fmla="*/ 3202184 h 3562184"/>
                <a:gd name="connsiteX5" fmla="*/ 1761112 w 2178658"/>
                <a:gd name="connsiteY5" fmla="*/ 3436790 h 3562184"/>
                <a:gd name="connsiteX6" fmla="*/ 2146852 w 2178658"/>
                <a:gd name="connsiteY6" fmla="*/ 2989690 h 3562184"/>
                <a:gd name="connsiteX7" fmla="*/ 1781092 w 2178658"/>
                <a:gd name="connsiteY7" fmla="*/ 2576223 h 3562184"/>
                <a:gd name="connsiteX8" fmla="*/ 1781092 w 2178658"/>
                <a:gd name="connsiteY8" fmla="*/ 2814762 h 3562184"/>
                <a:gd name="connsiteX9" fmla="*/ 1439186 w 2178658"/>
                <a:gd name="connsiteY9" fmla="*/ 2814762 h 3562184"/>
                <a:gd name="connsiteX10" fmla="*/ 1439186 w 2178658"/>
                <a:gd name="connsiteY10" fmla="*/ 2226365 h 3562184"/>
                <a:gd name="connsiteX11" fmla="*/ 1781092 w 2178658"/>
                <a:gd name="connsiteY11" fmla="*/ 2226365 h 3562184"/>
                <a:gd name="connsiteX12" fmla="*/ 1781092 w 2178658"/>
                <a:gd name="connsiteY12" fmla="*/ 2409245 h 3562184"/>
                <a:gd name="connsiteX13" fmla="*/ 2178658 w 2178658"/>
                <a:gd name="connsiteY13" fmla="*/ 2003729 h 3562184"/>
                <a:gd name="connsiteX14" fmla="*/ 1828800 w 2178658"/>
                <a:gd name="connsiteY14" fmla="*/ 1669774 h 3562184"/>
                <a:gd name="connsiteX15" fmla="*/ 1836752 w 2178658"/>
                <a:gd name="connsiteY15" fmla="*/ 1900362 h 3562184"/>
                <a:gd name="connsiteX16" fmla="*/ 1447138 w 2178658"/>
                <a:gd name="connsiteY16" fmla="*/ 1908313 h 3562184"/>
                <a:gd name="connsiteX17" fmla="*/ 1455089 w 2178658"/>
                <a:gd name="connsiteY17" fmla="*/ 1375576 h 3562184"/>
                <a:gd name="connsiteX18" fmla="*/ 1796995 w 2178658"/>
                <a:gd name="connsiteY18" fmla="*/ 1375576 h 3562184"/>
                <a:gd name="connsiteX19" fmla="*/ 1804946 w 2178658"/>
                <a:gd name="connsiteY19" fmla="*/ 1534602 h 3562184"/>
                <a:gd name="connsiteX20" fmla="*/ 2154804 w 2178658"/>
                <a:gd name="connsiteY20" fmla="*/ 1137037 h 3562184"/>
                <a:gd name="connsiteX21" fmla="*/ 1789044 w 2178658"/>
                <a:gd name="connsiteY21" fmla="*/ 811033 h 3562184"/>
                <a:gd name="connsiteX22" fmla="*/ 1789044 w 2178658"/>
                <a:gd name="connsiteY22" fmla="*/ 1017767 h 3562184"/>
                <a:gd name="connsiteX23" fmla="*/ 1470992 w 2178658"/>
                <a:gd name="connsiteY23" fmla="*/ 1017767 h 3562184"/>
                <a:gd name="connsiteX24" fmla="*/ 1478943 w 2178658"/>
                <a:gd name="connsiteY24" fmla="*/ 628153 h 3562184"/>
                <a:gd name="connsiteX25" fmla="*/ 1781092 w 2178658"/>
                <a:gd name="connsiteY25" fmla="*/ 628153 h 3562184"/>
                <a:gd name="connsiteX26" fmla="*/ 1789044 w 2178658"/>
                <a:gd name="connsiteY26" fmla="*/ 715617 h 3562184"/>
                <a:gd name="connsiteX27" fmla="*/ 2122998 w 2178658"/>
                <a:gd name="connsiteY27" fmla="*/ 341906 h 3562184"/>
                <a:gd name="connsiteX28" fmla="*/ 1796995 w 2178658"/>
                <a:gd name="connsiteY28" fmla="*/ 103367 h 3562184"/>
                <a:gd name="connsiteX29" fmla="*/ 1789044 w 2178658"/>
                <a:gd name="connsiteY29" fmla="*/ 286247 h 3562184"/>
                <a:gd name="connsiteX30" fmla="*/ 1455089 w 2178658"/>
                <a:gd name="connsiteY30" fmla="*/ 278296 h 3562184"/>
                <a:gd name="connsiteX31" fmla="*/ 1463040 w 2178658"/>
                <a:gd name="connsiteY31" fmla="*/ 7951 h 3562184"/>
                <a:gd name="connsiteX32" fmla="*/ 0 w 2178658"/>
                <a:gd name="connsiteY32" fmla="*/ 0 h 3562184"/>
                <a:gd name="connsiteX33" fmla="*/ 0 w 2178658"/>
                <a:gd name="connsiteY33" fmla="*/ 437322 h 3562184"/>
                <a:gd name="connsiteX0" fmla="*/ 0 w 2178658"/>
                <a:gd name="connsiteY0" fmla="*/ 437322 h 3562184"/>
                <a:gd name="connsiteX1" fmla="*/ 0 w 2178658"/>
                <a:gd name="connsiteY1" fmla="*/ 3562184 h 3562184"/>
                <a:gd name="connsiteX2" fmla="*/ 1431235 w 2178658"/>
                <a:gd name="connsiteY2" fmla="*/ 3562184 h 3562184"/>
                <a:gd name="connsiteX3" fmla="*/ 1439999 w 2178658"/>
                <a:gd name="connsiteY3" fmla="*/ 3202184 h 3562184"/>
                <a:gd name="connsiteX4" fmla="*/ 1761112 w 2178658"/>
                <a:gd name="connsiteY4" fmla="*/ 3202184 h 3562184"/>
                <a:gd name="connsiteX5" fmla="*/ 1761110 w 2178658"/>
                <a:gd name="connsiteY5" fmla="*/ 3382184 h 3562184"/>
                <a:gd name="connsiteX6" fmla="*/ 2146852 w 2178658"/>
                <a:gd name="connsiteY6" fmla="*/ 2989690 h 3562184"/>
                <a:gd name="connsiteX7" fmla="*/ 1781092 w 2178658"/>
                <a:gd name="connsiteY7" fmla="*/ 2576223 h 3562184"/>
                <a:gd name="connsiteX8" fmla="*/ 1781092 w 2178658"/>
                <a:gd name="connsiteY8" fmla="*/ 2814762 h 3562184"/>
                <a:gd name="connsiteX9" fmla="*/ 1439186 w 2178658"/>
                <a:gd name="connsiteY9" fmla="*/ 2814762 h 3562184"/>
                <a:gd name="connsiteX10" fmla="*/ 1439186 w 2178658"/>
                <a:gd name="connsiteY10" fmla="*/ 2226365 h 3562184"/>
                <a:gd name="connsiteX11" fmla="*/ 1781092 w 2178658"/>
                <a:gd name="connsiteY11" fmla="*/ 2226365 h 3562184"/>
                <a:gd name="connsiteX12" fmla="*/ 1781092 w 2178658"/>
                <a:gd name="connsiteY12" fmla="*/ 2409245 h 3562184"/>
                <a:gd name="connsiteX13" fmla="*/ 2178658 w 2178658"/>
                <a:gd name="connsiteY13" fmla="*/ 2003729 h 3562184"/>
                <a:gd name="connsiteX14" fmla="*/ 1828800 w 2178658"/>
                <a:gd name="connsiteY14" fmla="*/ 1669774 h 3562184"/>
                <a:gd name="connsiteX15" fmla="*/ 1836752 w 2178658"/>
                <a:gd name="connsiteY15" fmla="*/ 1900362 h 3562184"/>
                <a:gd name="connsiteX16" fmla="*/ 1447138 w 2178658"/>
                <a:gd name="connsiteY16" fmla="*/ 1908313 h 3562184"/>
                <a:gd name="connsiteX17" fmla="*/ 1455089 w 2178658"/>
                <a:gd name="connsiteY17" fmla="*/ 1375576 h 3562184"/>
                <a:gd name="connsiteX18" fmla="*/ 1796995 w 2178658"/>
                <a:gd name="connsiteY18" fmla="*/ 1375576 h 3562184"/>
                <a:gd name="connsiteX19" fmla="*/ 1804946 w 2178658"/>
                <a:gd name="connsiteY19" fmla="*/ 1534602 h 3562184"/>
                <a:gd name="connsiteX20" fmla="*/ 2154804 w 2178658"/>
                <a:gd name="connsiteY20" fmla="*/ 1137037 h 3562184"/>
                <a:gd name="connsiteX21" fmla="*/ 1789044 w 2178658"/>
                <a:gd name="connsiteY21" fmla="*/ 811033 h 3562184"/>
                <a:gd name="connsiteX22" fmla="*/ 1789044 w 2178658"/>
                <a:gd name="connsiteY22" fmla="*/ 1017767 h 3562184"/>
                <a:gd name="connsiteX23" fmla="*/ 1470992 w 2178658"/>
                <a:gd name="connsiteY23" fmla="*/ 1017767 h 3562184"/>
                <a:gd name="connsiteX24" fmla="*/ 1478943 w 2178658"/>
                <a:gd name="connsiteY24" fmla="*/ 628153 h 3562184"/>
                <a:gd name="connsiteX25" fmla="*/ 1781092 w 2178658"/>
                <a:gd name="connsiteY25" fmla="*/ 628153 h 3562184"/>
                <a:gd name="connsiteX26" fmla="*/ 1789044 w 2178658"/>
                <a:gd name="connsiteY26" fmla="*/ 715617 h 3562184"/>
                <a:gd name="connsiteX27" fmla="*/ 2122998 w 2178658"/>
                <a:gd name="connsiteY27" fmla="*/ 341906 h 3562184"/>
                <a:gd name="connsiteX28" fmla="*/ 1796995 w 2178658"/>
                <a:gd name="connsiteY28" fmla="*/ 103367 h 3562184"/>
                <a:gd name="connsiteX29" fmla="*/ 1789044 w 2178658"/>
                <a:gd name="connsiteY29" fmla="*/ 286247 h 3562184"/>
                <a:gd name="connsiteX30" fmla="*/ 1455089 w 2178658"/>
                <a:gd name="connsiteY30" fmla="*/ 278296 h 3562184"/>
                <a:gd name="connsiteX31" fmla="*/ 1463040 w 2178658"/>
                <a:gd name="connsiteY31" fmla="*/ 7951 h 3562184"/>
                <a:gd name="connsiteX32" fmla="*/ 0 w 2178658"/>
                <a:gd name="connsiteY32" fmla="*/ 0 h 3562184"/>
                <a:gd name="connsiteX33" fmla="*/ 0 w 2178658"/>
                <a:gd name="connsiteY33" fmla="*/ 437322 h 3562184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61112 w 2178658"/>
                <a:gd name="connsiteY4" fmla="*/ 3240000 h 3600000"/>
                <a:gd name="connsiteX5" fmla="*/ 1761110 w 2178658"/>
                <a:gd name="connsiteY5" fmla="*/ 3420000 h 3600000"/>
                <a:gd name="connsiteX6" fmla="*/ 2146852 w 2178658"/>
                <a:gd name="connsiteY6" fmla="*/ 3027506 h 3600000"/>
                <a:gd name="connsiteX7" fmla="*/ 1781092 w 2178658"/>
                <a:gd name="connsiteY7" fmla="*/ 2614039 h 3600000"/>
                <a:gd name="connsiteX8" fmla="*/ 1781092 w 2178658"/>
                <a:gd name="connsiteY8" fmla="*/ 2852578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55089 w 2178658"/>
                <a:gd name="connsiteY30" fmla="*/ 316112 h 3600000"/>
                <a:gd name="connsiteX31" fmla="*/ 1463040 w 2178658"/>
                <a:gd name="connsiteY31" fmla="*/ 45767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61112 w 2178658"/>
                <a:gd name="connsiteY4" fmla="*/ 3240000 h 3600000"/>
                <a:gd name="connsiteX5" fmla="*/ 1761110 w 2178658"/>
                <a:gd name="connsiteY5" fmla="*/ 3420000 h 3600000"/>
                <a:gd name="connsiteX6" fmla="*/ 2146852 w 2178658"/>
                <a:gd name="connsiteY6" fmla="*/ 3027506 h 3600000"/>
                <a:gd name="connsiteX7" fmla="*/ 1781092 w 2178658"/>
                <a:gd name="connsiteY7" fmla="*/ 2614039 h 3600000"/>
                <a:gd name="connsiteX8" fmla="*/ 1781092 w 2178658"/>
                <a:gd name="connsiteY8" fmla="*/ 2852578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55089 w 2178658"/>
                <a:gd name="connsiteY30" fmla="*/ 316112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61112 w 2178658"/>
                <a:gd name="connsiteY4" fmla="*/ 3240000 h 3600000"/>
                <a:gd name="connsiteX5" fmla="*/ 1761110 w 2178658"/>
                <a:gd name="connsiteY5" fmla="*/ 3420000 h 3600000"/>
                <a:gd name="connsiteX6" fmla="*/ 2146852 w 2178658"/>
                <a:gd name="connsiteY6" fmla="*/ 3027506 h 3600000"/>
                <a:gd name="connsiteX7" fmla="*/ 1781092 w 2178658"/>
                <a:gd name="connsiteY7" fmla="*/ 2614039 h 3600000"/>
                <a:gd name="connsiteX8" fmla="*/ 1781092 w 2178658"/>
                <a:gd name="connsiteY8" fmla="*/ 2852578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40000 w 2178658"/>
                <a:gd name="connsiteY30" fmla="*/ 3324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61112 w 2178658"/>
                <a:gd name="connsiteY4" fmla="*/ 3240000 h 3600000"/>
                <a:gd name="connsiteX5" fmla="*/ 1761110 w 2178658"/>
                <a:gd name="connsiteY5" fmla="*/ 3420000 h 3600000"/>
                <a:gd name="connsiteX6" fmla="*/ 2146852 w 2178658"/>
                <a:gd name="connsiteY6" fmla="*/ 3027506 h 3600000"/>
                <a:gd name="connsiteX7" fmla="*/ 1781092 w 2178658"/>
                <a:gd name="connsiteY7" fmla="*/ 2614039 h 3600000"/>
                <a:gd name="connsiteX8" fmla="*/ 1781092 w 2178658"/>
                <a:gd name="connsiteY8" fmla="*/ 2852578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61112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81092 w 2178658"/>
                <a:gd name="connsiteY7" fmla="*/ 2614039 h 3600000"/>
                <a:gd name="connsiteX8" fmla="*/ 1781092 w 2178658"/>
                <a:gd name="connsiteY8" fmla="*/ 2852578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81092 w 2178658"/>
                <a:gd name="connsiteY7" fmla="*/ 2614039 h 3600000"/>
                <a:gd name="connsiteX8" fmla="*/ 1781092 w 2178658"/>
                <a:gd name="connsiteY8" fmla="*/ 2852578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634807 h 3600000"/>
                <a:gd name="connsiteX8" fmla="*/ 1781092 w 2178658"/>
                <a:gd name="connsiteY8" fmla="*/ 2852578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634807 h 3600000"/>
                <a:gd name="connsiteX8" fmla="*/ 1799999 w 2178658"/>
                <a:gd name="connsiteY8" fmla="*/ 2880000 h 3600000"/>
                <a:gd name="connsiteX9" fmla="*/ 1439186 w 2178658"/>
                <a:gd name="connsiteY9" fmla="*/ 2852578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634807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186 w 2178658"/>
                <a:gd name="connsiteY10" fmla="*/ 2264181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81092 w 2178658"/>
                <a:gd name="connsiteY11" fmla="*/ 2264181 h 3600000"/>
                <a:gd name="connsiteX12" fmla="*/ 1781092 w 2178658"/>
                <a:gd name="connsiteY12" fmla="*/ 2447061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81092 w 2178658"/>
                <a:gd name="connsiteY11" fmla="*/ 2264181 h 3600000"/>
                <a:gd name="connsiteX12" fmla="*/ 1799998 w 2178658"/>
                <a:gd name="connsiteY12" fmla="*/ 2520000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836752 w 2178658"/>
                <a:gd name="connsiteY15" fmla="*/ 1938178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799999 w 2178658"/>
                <a:gd name="connsiteY15" fmla="*/ 1980000 h 3600000"/>
                <a:gd name="connsiteX16" fmla="*/ 1447138 w 2178658"/>
                <a:gd name="connsiteY16" fmla="*/ 1946129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041545 h 3600000"/>
                <a:gd name="connsiteX14" fmla="*/ 1828800 w 2178658"/>
                <a:gd name="connsiteY14" fmla="*/ 170759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041545 h 3600000"/>
                <a:gd name="connsiteX14" fmla="*/ 1799999 w 2178658"/>
                <a:gd name="connsiteY14" fmla="*/ 162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041545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804946 w 2178658"/>
                <a:gd name="connsiteY19" fmla="*/ 1572418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55089 w 2178658"/>
                <a:gd name="connsiteY17" fmla="*/ 1413392 h 3600000"/>
                <a:gd name="connsiteX18" fmla="*/ 1796995 w 2178658"/>
                <a:gd name="connsiteY18" fmla="*/ 1413392 h 3600000"/>
                <a:gd name="connsiteX19" fmla="*/ 1799999 w 2178658"/>
                <a:gd name="connsiteY19" fmla="*/ 1620000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55089 w 2178658"/>
                <a:gd name="connsiteY17" fmla="*/ 1413392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89044 w 2178658"/>
                <a:gd name="connsiteY22" fmla="*/ 1055583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99998 w 2178658"/>
                <a:gd name="connsiteY22" fmla="*/ 1080000 h 3600000"/>
                <a:gd name="connsiteX23" fmla="*/ 1470992 w 2178658"/>
                <a:gd name="connsiteY23" fmla="*/ 1055583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54804 w 2178658"/>
                <a:gd name="connsiteY20" fmla="*/ 1174853 h 3600000"/>
                <a:gd name="connsiteX21" fmla="*/ 1789044 w 2178658"/>
                <a:gd name="connsiteY21" fmla="*/ 848849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54804 w 2178658"/>
                <a:gd name="connsiteY20" fmla="*/ 1174853 h 3600000"/>
                <a:gd name="connsiteX21" fmla="*/ 1799998 w 2178658"/>
                <a:gd name="connsiteY21" fmla="*/ 809157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54804 w 2178658"/>
                <a:gd name="connsiteY20" fmla="*/ 1174853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78943 w 2178658"/>
                <a:gd name="connsiteY24" fmla="*/ 665969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720000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81092 w 2178658"/>
                <a:gd name="connsiteY25" fmla="*/ 665969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8 w 2178658"/>
                <a:gd name="connsiteY25" fmla="*/ 48054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36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89044 w 2178658"/>
                <a:gd name="connsiteY29" fmla="*/ 324063 h 3600000"/>
                <a:gd name="connsiteX30" fmla="*/ 1439999 w 2178658"/>
                <a:gd name="connsiteY30" fmla="*/ 18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6995 w 2178658"/>
                <a:gd name="connsiteY28" fmla="*/ 141183 h 3600000"/>
                <a:gd name="connsiteX29" fmla="*/ 1799998 w 2178658"/>
                <a:gd name="connsiteY29" fmla="*/ 180000 h 3600000"/>
                <a:gd name="connsiteX30" fmla="*/ 1439999 w 2178658"/>
                <a:gd name="connsiteY30" fmla="*/ 18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475138 h 3600000"/>
                <a:gd name="connsiteX1" fmla="*/ 0 w 2178658"/>
                <a:gd name="connsiteY1" fmla="*/ 3600000 h 3600000"/>
                <a:gd name="connsiteX2" fmla="*/ 1431235 w 2178658"/>
                <a:gd name="connsiteY2" fmla="*/ 3600000 h 3600000"/>
                <a:gd name="connsiteX3" fmla="*/ 1439999 w 2178658"/>
                <a:gd name="connsiteY3" fmla="*/ 3240000 h 3600000"/>
                <a:gd name="connsiteX4" fmla="*/ 1799999 w 2178658"/>
                <a:gd name="connsiteY4" fmla="*/ 3240000 h 3600000"/>
                <a:gd name="connsiteX5" fmla="*/ 1799999 w 2178658"/>
                <a:gd name="connsiteY5" fmla="*/ 3419025 h 3600000"/>
                <a:gd name="connsiteX6" fmla="*/ 2146852 w 2178658"/>
                <a:gd name="connsiteY6" fmla="*/ 3027506 h 3600000"/>
                <a:gd name="connsiteX7" fmla="*/ 1799999 w 2178658"/>
                <a:gd name="connsiteY7" fmla="*/ 2700000 h 3600000"/>
                <a:gd name="connsiteX8" fmla="*/ 1799999 w 2178658"/>
                <a:gd name="connsiteY8" fmla="*/ 2880000 h 3600000"/>
                <a:gd name="connsiteX9" fmla="*/ 1440000 w 2178658"/>
                <a:gd name="connsiteY9" fmla="*/ 2880000 h 3600000"/>
                <a:gd name="connsiteX10" fmla="*/ 1439999 w 2178658"/>
                <a:gd name="connsiteY10" fmla="*/ 2340000 h 3600000"/>
                <a:gd name="connsiteX11" fmla="*/ 1799998 w 2178658"/>
                <a:gd name="connsiteY11" fmla="*/ 2340000 h 3600000"/>
                <a:gd name="connsiteX12" fmla="*/ 1799998 w 2178658"/>
                <a:gd name="connsiteY12" fmla="*/ 2520000 h 3600000"/>
                <a:gd name="connsiteX13" fmla="*/ 2178658 w 2178658"/>
                <a:gd name="connsiteY13" fmla="*/ 2160000 h 3600000"/>
                <a:gd name="connsiteX14" fmla="*/ 1799999 w 2178658"/>
                <a:gd name="connsiteY14" fmla="*/ 1800000 h 3600000"/>
                <a:gd name="connsiteX15" fmla="*/ 1799999 w 2178658"/>
                <a:gd name="connsiteY15" fmla="*/ 1980000 h 3600000"/>
                <a:gd name="connsiteX16" fmla="*/ 1439999 w 2178658"/>
                <a:gd name="connsiteY16" fmla="*/ 1980000 h 3600000"/>
                <a:gd name="connsiteX17" fmla="*/ 1439999 w 2178658"/>
                <a:gd name="connsiteY17" fmla="*/ 1440000 h 3600000"/>
                <a:gd name="connsiteX18" fmla="*/ 1799999 w 2178658"/>
                <a:gd name="connsiteY18" fmla="*/ 1440000 h 3600000"/>
                <a:gd name="connsiteX19" fmla="*/ 1799999 w 2178658"/>
                <a:gd name="connsiteY19" fmla="*/ 1620000 h 3600000"/>
                <a:gd name="connsiteX20" fmla="*/ 2178658 w 2178658"/>
                <a:gd name="connsiteY20" fmla="*/ 1260000 h 3600000"/>
                <a:gd name="connsiteX21" fmla="*/ 1799999 w 2178658"/>
                <a:gd name="connsiteY21" fmla="*/ 900000 h 3600000"/>
                <a:gd name="connsiteX22" fmla="*/ 1799998 w 2178658"/>
                <a:gd name="connsiteY22" fmla="*/ 1080000 h 3600000"/>
                <a:gd name="connsiteX23" fmla="*/ 1439999 w 2178658"/>
                <a:gd name="connsiteY23" fmla="*/ 1080000 h 3600000"/>
                <a:gd name="connsiteX24" fmla="*/ 1439999 w 2178658"/>
                <a:gd name="connsiteY24" fmla="*/ 540000 h 3600000"/>
                <a:gd name="connsiteX25" fmla="*/ 1799999 w 2178658"/>
                <a:gd name="connsiteY25" fmla="*/ 540000 h 3600000"/>
                <a:gd name="connsiteX26" fmla="*/ 1789044 w 2178658"/>
                <a:gd name="connsiteY26" fmla="*/ 753433 h 3600000"/>
                <a:gd name="connsiteX27" fmla="*/ 2122998 w 2178658"/>
                <a:gd name="connsiteY27" fmla="*/ 379722 h 3600000"/>
                <a:gd name="connsiteX28" fmla="*/ 1799999 w 2178658"/>
                <a:gd name="connsiteY28" fmla="*/ 0 h 3600000"/>
                <a:gd name="connsiteX29" fmla="*/ 1799998 w 2178658"/>
                <a:gd name="connsiteY29" fmla="*/ 180000 h 3600000"/>
                <a:gd name="connsiteX30" fmla="*/ 1439999 w 2178658"/>
                <a:gd name="connsiteY30" fmla="*/ 180000 h 3600000"/>
                <a:gd name="connsiteX31" fmla="*/ 1440000 w 2178658"/>
                <a:gd name="connsiteY31" fmla="*/ 0 h 3600000"/>
                <a:gd name="connsiteX32" fmla="*/ 0 w 2178658"/>
                <a:gd name="connsiteY32" fmla="*/ 0 h 3600000"/>
                <a:gd name="connsiteX33" fmla="*/ 0 w 2178658"/>
                <a:gd name="connsiteY33" fmla="*/ 475138 h 360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89044 w 2178658"/>
                <a:gd name="connsiteY26" fmla="*/ 933433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18000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89044 w 2178658"/>
                <a:gd name="connsiteY26" fmla="*/ 933433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18000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89044 w 2178658"/>
                <a:gd name="connsiteY26" fmla="*/ 933433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89044 w 2178658"/>
                <a:gd name="connsiteY26" fmla="*/ 933433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89044 w 2178658"/>
                <a:gd name="connsiteY26" fmla="*/ 933433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89044 w 2178658"/>
                <a:gd name="connsiteY26" fmla="*/ 933433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89044 w 2178658"/>
                <a:gd name="connsiteY26" fmla="*/ 933433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  <a:gd name="connsiteX0" fmla="*/ 0 w 2178658"/>
                <a:gd name="connsiteY0" fmla="*/ 655138 h 3780000"/>
                <a:gd name="connsiteX1" fmla="*/ 0 w 2178658"/>
                <a:gd name="connsiteY1" fmla="*/ 3780000 h 3780000"/>
                <a:gd name="connsiteX2" fmla="*/ 1431235 w 2178658"/>
                <a:gd name="connsiteY2" fmla="*/ 3780000 h 3780000"/>
                <a:gd name="connsiteX3" fmla="*/ 1439999 w 2178658"/>
                <a:gd name="connsiteY3" fmla="*/ 3420000 h 3780000"/>
                <a:gd name="connsiteX4" fmla="*/ 1799999 w 2178658"/>
                <a:gd name="connsiteY4" fmla="*/ 3420000 h 3780000"/>
                <a:gd name="connsiteX5" fmla="*/ 1799999 w 2178658"/>
                <a:gd name="connsiteY5" fmla="*/ 3599025 h 3780000"/>
                <a:gd name="connsiteX6" fmla="*/ 2146852 w 2178658"/>
                <a:gd name="connsiteY6" fmla="*/ 3207506 h 3780000"/>
                <a:gd name="connsiteX7" fmla="*/ 1799999 w 2178658"/>
                <a:gd name="connsiteY7" fmla="*/ 2880000 h 3780000"/>
                <a:gd name="connsiteX8" fmla="*/ 1799999 w 2178658"/>
                <a:gd name="connsiteY8" fmla="*/ 3060000 h 3780000"/>
                <a:gd name="connsiteX9" fmla="*/ 1440000 w 2178658"/>
                <a:gd name="connsiteY9" fmla="*/ 3060000 h 3780000"/>
                <a:gd name="connsiteX10" fmla="*/ 1439999 w 2178658"/>
                <a:gd name="connsiteY10" fmla="*/ 2520000 h 3780000"/>
                <a:gd name="connsiteX11" fmla="*/ 1799998 w 2178658"/>
                <a:gd name="connsiteY11" fmla="*/ 2520000 h 3780000"/>
                <a:gd name="connsiteX12" fmla="*/ 1799998 w 2178658"/>
                <a:gd name="connsiteY12" fmla="*/ 2700000 h 3780000"/>
                <a:gd name="connsiteX13" fmla="*/ 2178658 w 2178658"/>
                <a:gd name="connsiteY13" fmla="*/ 2340000 h 3780000"/>
                <a:gd name="connsiteX14" fmla="*/ 1799999 w 2178658"/>
                <a:gd name="connsiteY14" fmla="*/ 1980000 h 3780000"/>
                <a:gd name="connsiteX15" fmla="*/ 1799999 w 2178658"/>
                <a:gd name="connsiteY15" fmla="*/ 2160000 h 3780000"/>
                <a:gd name="connsiteX16" fmla="*/ 1439999 w 2178658"/>
                <a:gd name="connsiteY16" fmla="*/ 2160000 h 3780000"/>
                <a:gd name="connsiteX17" fmla="*/ 1439999 w 2178658"/>
                <a:gd name="connsiteY17" fmla="*/ 1620000 h 3780000"/>
                <a:gd name="connsiteX18" fmla="*/ 1799999 w 2178658"/>
                <a:gd name="connsiteY18" fmla="*/ 1620000 h 3780000"/>
                <a:gd name="connsiteX19" fmla="*/ 1799999 w 2178658"/>
                <a:gd name="connsiteY19" fmla="*/ 1800000 h 3780000"/>
                <a:gd name="connsiteX20" fmla="*/ 2178658 w 2178658"/>
                <a:gd name="connsiteY20" fmla="*/ 1440000 h 3780000"/>
                <a:gd name="connsiteX21" fmla="*/ 1799999 w 2178658"/>
                <a:gd name="connsiteY21" fmla="*/ 1080000 h 3780000"/>
                <a:gd name="connsiteX22" fmla="*/ 1799998 w 2178658"/>
                <a:gd name="connsiteY22" fmla="*/ 1260000 h 3780000"/>
                <a:gd name="connsiteX23" fmla="*/ 1439999 w 2178658"/>
                <a:gd name="connsiteY23" fmla="*/ 1260000 h 3780000"/>
                <a:gd name="connsiteX24" fmla="*/ 1439999 w 2178658"/>
                <a:gd name="connsiteY24" fmla="*/ 720000 h 3780000"/>
                <a:gd name="connsiteX25" fmla="*/ 1799999 w 2178658"/>
                <a:gd name="connsiteY25" fmla="*/ 720000 h 3780000"/>
                <a:gd name="connsiteX26" fmla="*/ 1799999 w 2178658"/>
                <a:gd name="connsiteY26" fmla="*/ 900000 h 3780000"/>
                <a:gd name="connsiteX27" fmla="*/ 2122998 w 2178658"/>
                <a:gd name="connsiteY27" fmla="*/ 559722 h 3780000"/>
                <a:gd name="connsiteX28" fmla="*/ 1799999 w 2178658"/>
                <a:gd name="connsiteY28" fmla="*/ 180000 h 3780000"/>
                <a:gd name="connsiteX29" fmla="*/ 1799998 w 2178658"/>
                <a:gd name="connsiteY29" fmla="*/ 360000 h 3780000"/>
                <a:gd name="connsiteX30" fmla="*/ 1439999 w 2178658"/>
                <a:gd name="connsiteY30" fmla="*/ 360000 h 3780000"/>
                <a:gd name="connsiteX31" fmla="*/ 1440000 w 2178658"/>
                <a:gd name="connsiteY31" fmla="*/ 0 h 3780000"/>
                <a:gd name="connsiteX32" fmla="*/ 0 w 2178658"/>
                <a:gd name="connsiteY32" fmla="*/ 0 h 3780000"/>
                <a:gd name="connsiteX33" fmla="*/ 0 w 2178658"/>
                <a:gd name="connsiteY33" fmla="*/ 655138 h 37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178658" h="3780000">
                  <a:moveTo>
                    <a:pt x="0" y="655138"/>
                  </a:moveTo>
                  <a:lnTo>
                    <a:pt x="0" y="3780000"/>
                  </a:lnTo>
                  <a:lnTo>
                    <a:pt x="1431235" y="3780000"/>
                  </a:lnTo>
                  <a:lnTo>
                    <a:pt x="1439999" y="3420000"/>
                  </a:lnTo>
                  <a:lnTo>
                    <a:pt x="1799999" y="3420000"/>
                  </a:lnTo>
                  <a:cubicBezTo>
                    <a:pt x="1799998" y="3480000"/>
                    <a:pt x="1800000" y="3539025"/>
                    <a:pt x="1799999" y="3599025"/>
                  </a:cubicBezTo>
                  <a:lnTo>
                    <a:pt x="2146852" y="3207506"/>
                  </a:lnTo>
                  <a:lnTo>
                    <a:pt x="1799999" y="2880000"/>
                  </a:lnTo>
                  <a:lnTo>
                    <a:pt x="1799999" y="3060000"/>
                  </a:lnTo>
                  <a:lnTo>
                    <a:pt x="1440000" y="3060000"/>
                  </a:lnTo>
                  <a:cubicBezTo>
                    <a:pt x="1439729" y="2854727"/>
                    <a:pt x="1440270" y="2725273"/>
                    <a:pt x="1439999" y="2520000"/>
                  </a:cubicBezTo>
                  <a:lnTo>
                    <a:pt x="1799998" y="2520000"/>
                  </a:lnTo>
                  <a:lnTo>
                    <a:pt x="1799998" y="2700000"/>
                  </a:lnTo>
                  <a:lnTo>
                    <a:pt x="2178658" y="2340000"/>
                  </a:lnTo>
                  <a:lnTo>
                    <a:pt x="1799999" y="1980000"/>
                  </a:lnTo>
                  <a:lnTo>
                    <a:pt x="1799999" y="2160000"/>
                  </a:lnTo>
                  <a:lnTo>
                    <a:pt x="1439999" y="2160000"/>
                  </a:lnTo>
                  <a:lnTo>
                    <a:pt x="1439999" y="1620000"/>
                  </a:lnTo>
                  <a:lnTo>
                    <a:pt x="1799999" y="1620000"/>
                  </a:lnTo>
                  <a:cubicBezTo>
                    <a:pt x="1801000" y="1688869"/>
                    <a:pt x="1798998" y="1731131"/>
                    <a:pt x="1799999" y="1800000"/>
                  </a:cubicBezTo>
                  <a:lnTo>
                    <a:pt x="2178658" y="1440000"/>
                  </a:lnTo>
                  <a:lnTo>
                    <a:pt x="1799999" y="1080000"/>
                  </a:lnTo>
                  <a:cubicBezTo>
                    <a:pt x="1799999" y="1140000"/>
                    <a:pt x="1799998" y="1200000"/>
                    <a:pt x="1799998" y="1260000"/>
                  </a:cubicBezTo>
                  <a:lnTo>
                    <a:pt x="1439999" y="1260000"/>
                  </a:lnTo>
                  <a:lnTo>
                    <a:pt x="1439999" y="720000"/>
                  </a:lnTo>
                  <a:lnTo>
                    <a:pt x="1799999" y="720000"/>
                  </a:lnTo>
                  <a:lnTo>
                    <a:pt x="1799999" y="900000"/>
                  </a:lnTo>
                  <a:lnTo>
                    <a:pt x="2122998" y="559722"/>
                  </a:lnTo>
                  <a:lnTo>
                    <a:pt x="1799999" y="180000"/>
                  </a:lnTo>
                  <a:cubicBezTo>
                    <a:pt x="1799999" y="240000"/>
                    <a:pt x="1799998" y="300000"/>
                    <a:pt x="1799998" y="360000"/>
                  </a:cubicBezTo>
                  <a:lnTo>
                    <a:pt x="1439999" y="360000"/>
                  </a:lnTo>
                  <a:cubicBezTo>
                    <a:pt x="1439999" y="240000"/>
                    <a:pt x="1440000" y="120000"/>
                    <a:pt x="1440000" y="0"/>
                  </a:cubicBezTo>
                  <a:lnTo>
                    <a:pt x="0" y="0"/>
                  </a:lnTo>
                  <a:lnTo>
                    <a:pt x="0" y="655138"/>
                  </a:lnTo>
                  <a:close/>
                </a:path>
              </a:pathLst>
            </a:custGeom>
            <a:blipFill>
              <a:blip r:embed="rId15" cstate="print">
                <a:lum bright="12000"/>
              </a:blip>
              <a:stretch>
                <a:fillRect/>
              </a:stretch>
            </a:blipFill>
            <a:ln w="25400" cap="sq">
              <a:solidFill>
                <a:srgbClr val="FFFFFF"/>
              </a:solidFill>
              <a:miter lim="800000"/>
              <a:headEnd/>
              <a:tailEnd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indent="0" defTabSz="914400" eaLnBrk="0" latinLnBrk="0" hangingPunct="0">
                <a:lnSpc>
                  <a:spcPct val="100000"/>
                </a:lnSpc>
                <a:buClr>
                  <a:srgbClr val="F4BF17"/>
                </a:buClr>
                <a:buSzPct val="40000"/>
                <a:buFont typeface="Marlett" pitchFamily="2" charset="2"/>
                <a:buChar char="g"/>
                <a:tabLst/>
              </a:pPr>
              <a:endParaRPr lang="it-IT" sz="3000" b="1" smtClean="0">
                <a:solidFill>
                  <a:srgbClr val="FDCD03"/>
                </a:solidFill>
                <a:latin typeface="Interstate-Light" pitchFamily="2" charset="0"/>
                <a:ea typeface="+mj-ea"/>
                <a:cs typeface="+mj-cs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8672792" y="2362874"/>
              <a:ext cx="553998" cy="2204565"/>
            </a:xfrm>
            <a:prstGeom prst="rect">
              <a:avLst/>
            </a:prstGeom>
            <a:solidFill>
              <a:schemeClr val="accent3">
                <a:lumMod val="60000"/>
                <a:lumOff val="40000"/>
                <a:alpha val="75000"/>
              </a:schemeClr>
            </a:solidFill>
          </p:spPr>
          <p:txBody>
            <a:bodyPr vert="vert270" wrap="square" rtlCol="0" anchor="ctr" anchorCtr="0">
              <a:spAutoFit/>
            </a:bodyPr>
            <a:lstStyle/>
            <a:p>
              <a:pPr algn="ctr"/>
              <a:r>
                <a:rPr lang="it-IT" sz="2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Interstate-Light" pitchFamily="2" charset="0"/>
                  <a:cs typeface="Arial" pitchFamily="34" charset="0"/>
                </a:rPr>
                <a:t>Innovazione</a:t>
              </a: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2917096" y="2342404"/>
            <a:ext cx="4814946" cy="1236394"/>
            <a:chOff x="2917096" y="2342404"/>
            <a:chExt cx="4814946" cy="1236394"/>
          </a:xfrm>
        </p:grpSpPr>
        <p:grpSp>
          <p:nvGrpSpPr>
            <p:cNvPr id="116" name="Group 115"/>
            <p:cNvGrpSpPr/>
            <p:nvPr/>
          </p:nvGrpSpPr>
          <p:grpSpPr>
            <a:xfrm>
              <a:off x="3344804" y="2342404"/>
              <a:ext cx="4387238" cy="1236394"/>
              <a:chOff x="3344804" y="2342404"/>
              <a:chExt cx="4387238" cy="1236394"/>
            </a:xfrm>
          </p:grpSpPr>
          <p:sp>
            <p:nvSpPr>
              <p:cNvPr id="217" name="Freeform 216"/>
              <p:cNvSpPr/>
              <p:nvPr/>
            </p:nvSpPr>
            <p:spPr bwMode="auto">
              <a:xfrm>
                <a:off x="3344804" y="2342404"/>
                <a:ext cx="4387238" cy="1236394"/>
              </a:xfrm>
              <a:custGeom>
                <a:avLst/>
                <a:gdLst>
                  <a:gd name="connsiteX0" fmla="*/ 447675 w 3676650"/>
                  <a:gd name="connsiteY0" fmla="*/ 0 h 1266825"/>
                  <a:gd name="connsiteX1" fmla="*/ 3486150 w 3676650"/>
                  <a:gd name="connsiteY1" fmla="*/ 0 h 1266825"/>
                  <a:gd name="connsiteX2" fmla="*/ 3676650 w 3676650"/>
                  <a:gd name="connsiteY2" fmla="*/ 1266825 h 1266825"/>
                  <a:gd name="connsiteX3" fmla="*/ 0 w 3676650"/>
                  <a:gd name="connsiteY3" fmla="*/ 1266825 h 1266825"/>
                  <a:gd name="connsiteX4" fmla="*/ 447675 w 3676650"/>
                  <a:gd name="connsiteY4" fmla="*/ 0 h 1266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6650" h="1266825">
                    <a:moveTo>
                      <a:pt x="447675" y="0"/>
                    </a:moveTo>
                    <a:lnTo>
                      <a:pt x="3486150" y="0"/>
                    </a:lnTo>
                    <a:lnTo>
                      <a:pt x="3676650" y="1266825"/>
                    </a:lnTo>
                    <a:lnTo>
                      <a:pt x="0" y="1266825"/>
                    </a:lnTo>
                    <a:lnTo>
                      <a:pt x="447675" y="0"/>
                    </a:lnTo>
                    <a:close/>
                  </a:path>
                </a:pathLst>
              </a:custGeom>
              <a:gradFill>
                <a:gsLst>
                  <a:gs pos="65000">
                    <a:schemeClr val="accent3">
                      <a:tint val="50000"/>
                      <a:satMod val="300000"/>
                    </a:schemeClr>
                  </a:gs>
                  <a:gs pos="0">
                    <a:schemeClr val="accent3">
                      <a:tint val="37000"/>
                      <a:satMod val="300000"/>
                      <a:alpha val="62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  <a:defRPr/>
                </a:pPr>
                <a:endParaRPr lang="it-IT">
                  <a:solidFill>
                    <a:schemeClr val="tx1"/>
                  </a:solidFill>
                </a:endParaRPr>
              </a:p>
            </p:txBody>
          </p:sp>
          <p:pic>
            <p:nvPicPr>
              <p:cNvPr id="218" name="Picture 12" descr="RouterBroadbnd"/>
              <p:cNvPicPr>
                <a:picLocks noChangeAspect="1" noChangeArrowheads="1"/>
              </p:cNvPicPr>
              <p:nvPr/>
            </p:nvPicPr>
            <p:blipFill>
              <a:blip r:embed="rId16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4055562" y="2846390"/>
                <a:ext cx="228526" cy="230244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pic>
          <p:pic>
            <p:nvPicPr>
              <p:cNvPr id="219" name="Picture 12" descr="RouterBroadbnd"/>
              <p:cNvPicPr>
                <a:picLocks noChangeAspect="1" noChangeArrowheads="1"/>
              </p:cNvPicPr>
              <p:nvPr/>
            </p:nvPicPr>
            <p:blipFill>
              <a:blip r:embed="rId16" cstate="print">
                <a:lum contrast="30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5707394" y="2459691"/>
                <a:ext cx="228526" cy="230244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pic>
          <p:pic>
            <p:nvPicPr>
              <p:cNvPr id="220" name="Picture 12" descr="RouterBroadbnd"/>
              <p:cNvPicPr>
                <a:picLocks noChangeAspect="1" noChangeArrowheads="1"/>
              </p:cNvPicPr>
              <p:nvPr/>
            </p:nvPicPr>
            <p:blipFill>
              <a:blip r:embed="rId16" cstate="print">
                <a:lum contrast="30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7185421" y="2846390"/>
                <a:ext cx="228526" cy="230244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pic>
          <p:pic>
            <p:nvPicPr>
              <p:cNvPr id="221" name="Picture 12" descr="RouterBroadbnd"/>
              <p:cNvPicPr>
                <a:picLocks noChangeAspect="1" noChangeArrowheads="1"/>
              </p:cNvPicPr>
              <p:nvPr/>
            </p:nvPicPr>
            <p:blipFill>
              <a:blip r:embed="rId16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5593131" y="3221772"/>
                <a:ext cx="228526" cy="230244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</p:pic>
          <p:sp>
            <p:nvSpPr>
              <p:cNvPr id="222" name="Freeform 399"/>
              <p:cNvSpPr>
                <a:spLocks noChangeArrowheads="1"/>
              </p:cNvSpPr>
              <p:nvPr/>
            </p:nvSpPr>
            <p:spPr bwMode="auto">
              <a:xfrm>
                <a:off x="4269103" y="2987829"/>
                <a:ext cx="1325886" cy="356725"/>
              </a:xfrm>
              <a:custGeom>
                <a:avLst/>
                <a:gdLst>
                  <a:gd name="T0" fmla="*/ 0 w 1369862"/>
                  <a:gd name="T1" fmla="*/ 0 h 368542"/>
                  <a:gd name="T2" fmla="*/ 1370996 w 1369862"/>
                  <a:gd name="T3" fmla="*/ 369046 h 368542"/>
                  <a:gd name="T4" fmla="*/ 0 60000 65536"/>
                  <a:gd name="T5" fmla="*/ 0 60000 65536"/>
                  <a:gd name="T6" fmla="*/ 0 w 1369862"/>
                  <a:gd name="T7" fmla="*/ 0 h 368542"/>
                  <a:gd name="T8" fmla="*/ 1369862 w 1369862"/>
                  <a:gd name="T9" fmla="*/ 368542 h 368542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369862" h="368542">
                    <a:moveTo>
                      <a:pt x="0" y="0"/>
                    </a:moveTo>
                    <a:lnTo>
                      <a:pt x="1369862" y="368542"/>
                    </a:lnTo>
                  </a:path>
                </a:pathLst>
              </a:custGeom>
              <a:noFill/>
              <a:ln w="22225" algn="ctr">
                <a:solidFill>
                  <a:srgbClr val="3250E6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223" name="Freeform 400"/>
              <p:cNvSpPr>
                <a:spLocks noChangeArrowheads="1"/>
              </p:cNvSpPr>
              <p:nvPr/>
            </p:nvSpPr>
            <p:spPr bwMode="auto">
              <a:xfrm>
                <a:off x="4272468" y="2583991"/>
                <a:ext cx="1433572" cy="329802"/>
              </a:xfrm>
              <a:custGeom>
                <a:avLst/>
                <a:gdLst>
                  <a:gd name="T0" fmla="*/ 0 w 1481120"/>
                  <a:gd name="T1" fmla="*/ 341195 h 340727"/>
                  <a:gd name="T2" fmla="*/ 1482344 w 1481120"/>
                  <a:gd name="T3" fmla="*/ 0 h 340727"/>
                  <a:gd name="T4" fmla="*/ 0 60000 65536"/>
                  <a:gd name="T5" fmla="*/ 0 60000 65536"/>
                  <a:gd name="T6" fmla="*/ 0 w 1481120"/>
                  <a:gd name="T7" fmla="*/ 0 h 340727"/>
                  <a:gd name="T8" fmla="*/ 1481120 w 1481120"/>
                  <a:gd name="T9" fmla="*/ 340727 h 340727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81120" h="340727">
                    <a:moveTo>
                      <a:pt x="0" y="340727"/>
                    </a:moveTo>
                    <a:lnTo>
                      <a:pt x="1481120" y="0"/>
                    </a:lnTo>
                  </a:path>
                </a:pathLst>
              </a:custGeom>
              <a:noFill/>
              <a:ln w="22225" algn="ctr">
                <a:solidFill>
                  <a:srgbClr val="3250E6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224" name="Freeform 401"/>
              <p:cNvSpPr>
                <a:spLocks noChangeArrowheads="1"/>
              </p:cNvSpPr>
              <p:nvPr/>
            </p:nvSpPr>
            <p:spPr bwMode="auto">
              <a:xfrm>
                <a:off x="5712770" y="2688316"/>
                <a:ext cx="90860" cy="535086"/>
              </a:xfrm>
              <a:custGeom>
                <a:avLst/>
                <a:gdLst>
                  <a:gd name="T0" fmla="*/ 93952 w 93874"/>
                  <a:gd name="T1" fmla="*/ 0 h 552812"/>
                  <a:gd name="T2" fmla="*/ 0 w 93874"/>
                  <a:gd name="T3" fmla="*/ 553568 h 552812"/>
                  <a:gd name="T4" fmla="*/ 0 60000 65536"/>
                  <a:gd name="T5" fmla="*/ 0 60000 65536"/>
                  <a:gd name="T6" fmla="*/ 0 w 93874"/>
                  <a:gd name="T7" fmla="*/ 0 h 552812"/>
                  <a:gd name="T8" fmla="*/ 93874 w 93874"/>
                  <a:gd name="T9" fmla="*/ 552812 h 552812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93874" h="552812">
                    <a:moveTo>
                      <a:pt x="93874" y="0"/>
                    </a:moveTo>
                    <a:lnTo>
                      <a:pt x="0" y="552812"/>
                    </a:lnTo>
                  </a:path>
                </a:pathLst>
              </a:custGeom>
              <a:noFill/>
              <a:ln w="22225" algn="ctr">
                <a:solidFill>
                  <a:srgbClr val="3250E6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225" name="Freeform 402"/>
              <p:cNvSpPr>
                <a:spLocks noChangeArrowheads="1"/>
              </p:cNvSpPr>
              <p:nvPr/>
            </p:nvSpPr>
            <p:spPr bwMode="auto">
              <a:xfrm>
                <a:off x="5914681" y="2580625"/>
                <a:ext cx="1285503" cy="343263"/>
              </a:xfrm>
              <a:custGeom>
                <a:avLst/>
                <a:gdLst>
                  <a:gd name="T0" fmla="*/ 0 w 1328140"/>
                  <a:gd name="T1" fmla="*/ 0 h 354634"/>
                  <a:gd name="T2" fmla="*/ 1329238 w 1328140"/>
                  <a:gd name="T3" fmla="*/ 355120 h 354634"/>
                  <a:gd name="T4" fmla="*/ 0 60000 65536"/>
                  <a:gd name="T5" fmla="*/ 0 60000 65536"/>
                  <a:gd name="T6" fmla="*/ 0 w 1328140"/>
                  <a:gd name="T7" fmla="*/ 0 h 354634"/>
                  <a:gd name="T8" fmla="*/ 1328140 w 1328140"/>
                  <a:gd name="T9" fmla="*/ 354634 h 354634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328140" h="354634">
                    <a:moveTo>
                      <a:pt x="0" y="0"/>
                    </a:moveTo>
                    <a:lnTo>
                      <a:pt x="1328140" y="354634"/>
                    </a:lnTo>
                  </a:path>
                </a:pathLst>
              </a:custGeom>
              <a:noFill/>
              <a:ln w="22225" algn="ctr">
                <a:solidFill>
                  <a:srgbClr val="3250E6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226" name="Freeform 403"/>
              <p:cNvSpPr>
                <a:spLocks noChangeArrowheads="1"/>
              </p:cNvSpPr>
              <p:nvPr/>
            </p:nvSpPr>
            <p:spPr bwMode="auto">
              <a:xfrm>
                <a:off x="5803631" y="2984464"/>
                <a:ext cx="1386459" cy="363456"/>
              </a:xfrm>
              <a:custGeom>
                <a:avLst/>
                <a:gdLst>
                  <a:gd name="T0" fmla="*/ 0 w 1432444"/>
                  <a:gd name="T1" fmla="*/ 376012 h 375496"/>
                  <a:gd name="T2" fmla="*/ 1433626 w 1432444"/>
                  <a:gd name="T3" fmla="*/ 0 h 375496"/>
                  <a:gd name="T4" fmla="*/ 0 60000 65536"/>
                  <a:gd name="T5" fmla="*/ 0 60000 65536"/>
                  <a:gd name="T6" fmla="*/ 0 w 1432444"/>
                  <a:gd name="T7" fmla="*/ 0 h 375496"/>
                  <a:gd name="T8" fmla="*/ 1432444 w 1432444"/>
                  <a:gd name="T9" fmla="*/ 375496 h 37549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432444" h="375496">
                    <a:moveTo>
                      <a:pt x="0" y="375496"/>
                    </a:moveTo>
                    <a:lnTo>
                      <a:pt x="1432444" y="0"/>
                    </a:lnTo>
                  </a:path>
                </a:pathLst>
              </a:custGeom>
              <a:noFill/>
              <a:ln w="22225" algn="ctr">
                <a:solidFill>
                  <a:srgbClr val="3250E6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</p:grpSp>
        <p:sp>
          <p:nvSpPr>
            <p:cNvPr id="161" name="Rectangle 14"/>
            <p:cNvSpPr>
              <a:spLocks noChangeArrowheads="1"/>
            </p:cNvSpPr>
            <p:nvPr/>
          </p:nvSpPr>
          <p:spPr bwMode="auto">
            <a:xfrm>
              <a:off x="2917096" y="2978407"/>
              <a:ext cx="1462229" cy="2978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910365" lon="2908724" rev="5143582"/>
              </a:camera>
              <a:lightRig rig="threePt" dir="t"/>
            </a:scene3d>
          </p:spPr>
          <p:txBody>
            <a:bodyPr>
              <a:spAutoFit/>
            </a:bodyPr>
            <a:lstStyle/>
            <a:p>
              <a:pPr eaLnBrk="0" hangingPunct="0">
                <a:spcBef>
                  <a:spcPct val="50000"/>
                </a:spcBef>
                <a:buSzPct val="40000"/>
                <a:defRPr/>
              </a:pPr>
              <a:r>
                <a:rPr lang="it-IT" sz="1400" dirty="0">
                  <a:solidFill>
                    <a:srgbClr val="FF0000"/>
                  </a:solidFill>
                  <a:latin typeface="Calibri" pitchFamily="34" charset="0"/>
                  <a:ea typeface="ＭＳ Ｐゴシック" pitchFamily="34" charset="-128"/>
                </a:rPr>
                <a:t>MAN/IP Network</a:t>
              </a:r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2939936" y="1182292"/>
            <a:ext cx="4792105" cy="1289367"/>
            <a:chOff x="2939936" y="1182292"/>
            <a:chExt cx="4792105" cy="1289367"/>
          </a:xfrm>
        </p:grpSpPr>
        <p:grpSp>
          <p:nvGrpSpPr>
            <p:cNvPr id="117" name="Group 116"/>
            <p:cNvGrpSpPr/>
            <p:nvPr/>
          </p:nvGrpSpPr>
          <p:grpSpPr>
            <a:xfrm>
              <a:off x="3344804" y="1182292"/>
              <a:ext cx="4387237" cy="1289367"/>
              <a:chOff x="3344804" y="1182292"/>
              <a:chExt cx="4387237" cy="1289367"/>
            </a:xfrm>
          </p:grpSpPr>
          <p:sp>
            <p:nvSpPr>
              <p:cNvPr id="171" name="Freeform 170"/>
              <p:cNvSpPr>
                <a:spLocks noChangeAspect="1"/>
              </p:cNvSpPr>
              <p:nvPr/>
            </p:nvSpPr>
            <p:spPr bwMode="auto">
              <a:xfrm>
                <a:off x="3344804" y="1234205"/>
                <a:ext cx="4387237" cy="1237454"/>
              </a:xfrm>
              <a:custGeom>
                <a:avLst/>
                <a:gdLst>
                  <a:gd name="connsiteX0" fmla="*/ 447675 w 3676650"/>
                  <a:gd name="connsiteY0" fmla="*/ 0 h 1266825"/>
                  <a:gd name="connsiteX1" fmla="*/ 3486150 w 3676650"/>
                  <a:gd name="connsiteY1" fmla="*/ 0 h 1266825"/>
                  <a:gd name="connsiteX2" fmla="*/ 3676650 w 3676650"/>
                  <a:gd name="connsiteY2" fmla="*/ 1266825 h 1266825"/>
                  <a:gd name="connsiteX3" fmla="*/ 0 w 3676650"/>
                  <a:gd name="connsiteY3" fmla="*/ 1266825 h 1266825"/>
                  <a:gd name="connsiteX4" fmla="*/ 447675 w 3676650"/>
                  <a:gd name="connsiteY4" fmla="*/ 0 h 1266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6650" h="1266825">
                    <a:moveTo>
                      <a:pt x="447675" y="0"/>
                    </a:moveTo>
                    <a:lnTo>
                      <a:pt x="3486150" y="0"/>
                    </a:lnTo>
                    <a:lnTo>
                      <a:pt x="3676650" y="1266825"/>
                    </a:lnTo>
                    <a:lnTo>
                      <a:pt x="0" y="1266825"/>
                    </a:lnTo>
                    <a:lnTo>
                      <a:pt x="447675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6">
                      <a:tint val="50000"/>
                      <a:satMod val="300000"/>
                      <a:alpha val="49000"/>
                    </a:schemeClr>
                  </a:gs>
                  <a:gs pos="55000">
                    <a:schemeClr val="accent5">
                      <a:lumMod val="20000"/>
                      <a:lumOff val="80000"/>
                    </a:schemeClr>
                  </a:gs>
                </a:gsLst>
              </a:gradFill>
              <a:ln>
                <a:headEnd type="none" w="med" len="med"/>
                <a:tailEnd type="none" w="med" len="med"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  <a:defRPr/>
                </a:pPr>
                <a:endParaRPr lang="it-IT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AutoShape 122"/>
              <p:cNvSpPr>
                <a:spLocks noChangeAspect="1" noChangeArrowheads="1"/>
              </p:cNvSpPr>
              <p:nvPr/>
            </p:nvSpPr>
            <p:spPr bwMode="auto">
              <a:xfrm>
                <a:off x="4612363" y="1193290"/>
                <a:ext cx="555641" cy="482792"/>
              </a:xfrm>
              <a:prstGeom prst="triangle">
                <a:avLst>
                  <a:gd name="adj" fmla="val 50000"/>
                </a:avLst>
              </a:prstGeom>
              <a:gradFill rotWithShape="0">
                <a:gsLst>
                  <a:gs pos="0">
                    <a:srgbClr val="F5BB53"/>
                  </a:gs>
                  <a:gs pos="50000">
                    <a:srgbClr val="FFFFFF"/>
                  </a:gs>
                  <a:gs pos="100000">
                    <a:srgbClr val="F5BB53"/>
                  </a:gs>
                </a:gsLst>
                <a:lin ang="2700000" scaled="1"/>
              </a:gradFill>
              <a:ln w="9525">
                <a:solidFill>
                  <a:srgbClr val="FFC000"/>
                </a:solidFill>
                <a:miter lim="800000"/>
                <a:headEnd/>
                <a:tailEnd/>
              </a:ln>
              <a:effectLst>
                <a:reflection blurRad="6350" stA="50000" endA="300" endPos="55000" dir="5400000" sy="-100000" algn="bl" rotWithShape="0"/>
              </a:effectLst>
            </p:spPr>
            <p:txBody>
              <a:bodyPr anchor="ctr"/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None/>
                  <a:defRPr/>
                </a:pPr>
                <a:r>
                  <a:rPr lang="it-IT" dirty="0">
                    <a:latin typeface="Calibri" pitchFamily="34" charset="0"/>
                    <a:ea typeface="ＭＳ Ｐゴシック" pitchFamily="34" charset="-128"/>
                  </a:rPr>
                  <a:t>1</a:t>
                </a:r>
              </a:p>
            </p:txBody>
          </p:sp>
          <p:sp>
            <p:nvSpPr>
              <p:cNvPr id="173" name="Freeform 123"/>
              <p:cNvSpPr>
                <a:spLocks noChangeAspect="1"/>
              </p:cNvSpPr>
              <p:nvPr/>
            </p:nvSpPr>
            <p:spPr bwMode="auto">
              <a:xfrm>
                <a:off x="4890183" y="1193290"/>
                <a:ext cx="306147" cy="482792"/>
              </a:xfrm>
              <a:custGeom>
                <a:avLst/>
                <a:gdLst>
                  <a:gd name="T0" fmla="*/ 0 w 440"/>
                  <a:gd name="T1" fmla="*/ 0 h 832"/>
                  <a:gd name="T2" fmla="*/ 2147483647 w 440"/>
                  <a:gd name="T3" fmla="*/ 2147483647 h 832"/>
                  <a:gd name="T4" fmla="*/ 2147483647 w 440"/>
                  <a:gd name="T5" fmla="*/ 2147483647 h 832"/>
                  <a:gd name="T6" fmla="*/ 0 60000 65536"/>
                  <a:gd name="T7" fmla="*/ 0 60000 65536"/>
                  <a:gd name="T8" fmla="*/ 0 60000 65536"/>
                  <a:gd name="T9" fmla="*/ 0 w 440"/>
                  <a:gd name="T10" fmla="*/ 0 h 832"/>
                  <a:gd name="T11" fmla="*/ 440 w 440"/>
                  <a:gd name="T12" fmla="*/ 832 h 83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40" h="832">
                    <a:moveTo>
                      <a:pt x="0" y="0"/>
                    </a:moveTo>
                    <a:lnTo>
                      <a:pt x="440" y="460"/>
                    </a:lnTo>
                    <a:lnTo>
                      <a:pt x="402" y="832"/>
                    </a:lnTo>
                  </a:path>
                </a:pathLst>
              </a:custGeom>
              <a:gradFill rotWithShape="0">
                <a:gsLst>
                  <a:gs pos="0">
                    <a:srgbClr val="F5BB53"/>
                  </a:gs>
                  <a:gs pos="50000">
                    <a:srgbClr val="FFFFFF"/>
                  </a:gs>
                  <a:gs pos="100000">
                    <a:srgbClr val="F5BB53"/>
                  </a:gs>
                </a:gsLst>
                <a:lin ang="2700000" scaled="1"/>
              </a:gradFill>
              <a:ln w="9525">
                <a:solidFill>
                  <a:srgbClr val="FFC000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pic>
            <p:nvPicPr>
              <p:cNvPr id="174" name="Picture 109" descr="D:\Documents and Settings\sbeaver\My Documents\documents\packet\icons\BTS10200.jpg"/>
              <p:cNvPicPr preferRelativeResize="0"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4353298" y="1895625"/>
                <a:ext cx="235250" cy="3584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</p:pic>
          <p:pic>
            <p:nvPicPr>
              <p:cNvPr id="175" name="Picture 109" descr="D:\Documents and Settings\sbeaver\My Documents\documents\packet\icons\BTS10200.jpg"/>
              <p:cNvPicPr preferRelativeResize="0"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>
                <a:off x="6804013" y="1853216"/>
                <a:ext cx="235250" cy="3584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reflection blurRad="6350" stA="52000" endA="300" endPos="35000" dir="5400000" sy="-100000" algn="bl" rotWithShape="0"/>
              </a:effectLst>
            </p:spPr>
          </p:pic>
          <p:sp>
            <p:nvSpPr>
              <p:cNvPr id="176" name="AutoShape 122"/>
              <p:cNvSpPr>
                <a:spLocks noChangeAspect="1" noChangeArrowheads="1"/>
              </p:cNvSpPr>
              <p:nvPr/>
            </p:nvSpPr>
            <p:spPr bwMode="auto">
              <a:xfrm>
                <a:off x="5184044" y="1193290"/>
                <a:ext cx="555641" cy="502900"/>
              </a:xfrm>
              <a:prstGeom prst="triangle">
                <a:avLst>
                  <a:gd name="adj" fmla="val 50000"/>
                </a:avLst>
              </a:prstGeom>
              <a:gradFill rotWithShape="0">
                <a:gsLst>
                  <a:gs pos="0">
                    <a:srgbClr val="F5BB53"/>
                  </a:gs>
                  <a:gs pos="50000">
                    <a:srgbClr val="FFFFFF"/>
                  </a:gs>
                  <a:gs pos="100000">
                    <a:srgbClr val="F5BB53"/>
                  </a:gs>
                </a:gsLst>
                <a:lin ang="2700000" scaled="1"/>
              </a:gradFill>
              <a:ln w="9525">
                <a:solidFill>
                  <a:srgbClr val="FFC000"/>
                </a:solidFill>
                <a:miter lim="800000"/>
                <a:headEnd/>
                <a:tailEnd/>
              </a:ln>
              <a:effectLst>
                <a:reflection blurRad="6350" stA="50000" endA="300" endPos="55000" dir="5400000" sy="-100000" algn="bl" rotWithShape="0"/>
              </a:effectLst>
            </p:spPr>
            <p:txBody>
              <a:bodyPr anchor="ctr"/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None/>
                  <a:defRPr/>
                </a:pPr>
                <a:r>
                  <a:rPr lang="it-IT" dirty="0">
                    <a:latin typeface="Calibri" pitchFamily="34" charset="0"/>
                    <a:ea typeface="ＭＳ Ｐゴシック" pitchFamily="34" charset="-128"/>
                  </a:rPr>
                  <a:t>2</a:t>
                </a:r>
              </a:p>
            </p:txBody>
          </p:sp>
          <p:sp>
            <p:nvSpPr>
              <p:cNvPr id="177" name="Freeform 123"/>
              <p:cNvSpPr>
                <a:spLocks noChangeAspect="1"/>
              </p:cNvSpPr>
              <p:nvPr/>
            </p:nvSpPr>
            <p:spPr bwMode="auto">
              <a:xfrm>
                <a:off x="5461864" y="1193290"/>
                <a:ext cx="306147" cy="482792"/>
              </a:xfrm>
              <a:custGeom>
                <a:avLst/>
                <a:gdLst>
                  <a:gd name="T0" fmla="*/ 0 w 440"/>
                  <a:gd name="T1" fmla="*/ 0 h 832"/>
                  <a:gd name="T2" fmla="*/ 2147483647 w 440"/>
                  <a:gd name="T3" fmla="*/ 2147483647 h 832"/>
                  <a:gd name="T4" fmla="*/ 2147483647 w 440"/>
                  <a:gd name="T5" fmla="*/ 2147483647 h 832"/>
                  <a:gd name="T6" fmla="*/ 0 60000 65536"/>
                  <a:gd name="T7" fmla="*/ 0 60000 65536"/>
                  <a:gd name="T8" fmla="*/ 0 60000 65536"/>
                  <a:gd name="T9" fmla="*/ 0 w 440"/>
                  <a:gd name="T10" fmla="*/ 0 h 832"/>
                  <a:gd name="T11" fmla="*/ 440 w 440"/>
                  <a:gd name="T12" fmla="*/ 832 h 83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40" h="832">
                    <a:moveTo>
                      <a:pt x="0" y="0"/>
                    </a:moveTo>
                    <a:lnTo>
                      <a:pt x="440" y="460"/>
                    </a:lnTo>
                    <a:lnTo>
                      <a:pt x="402" y="832"/>
                    </a:lnTo>
                  </a:path>
                </a:pathLst>
              </a:custGeom>
              <a:gradFill rotWithShape="0">
                <a:gsLst>
                  <a:gs pos="0">
                    <a:srgbClr val="F5BB53"/>
                  </a:gs>
                  <a:gs pos="50000">
                    <a:srgbClr val="FFFFFF"/>
                  </a:gs>
                  <a:gs pos="100000">
                    <a:srgbClr val="F5BB53"/>
                  </a:gs>
                </a:gsLst>
                <a:lin ang="2700000" scaled="1"/>
              </a:gradFill>
              <a:ln w="9525">
                <a:solidFill>
                  <a:srgbClr val="FFC000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79" name="AutoShape 122"/>
              <p:cNvSpPr>
                <a:spLocks noChangeAspect="1" noChangeArrowheads="1"/>
              </p:cNvSpPr>
              <p:nvPr/>
            </p:nvSpPr>
            <p:spPr bwMode="auto">
              <a:xfrm>
                <a:off x="5768011" y="1193290"/>
                <a:ext cx="555641" cy="502900"/>
              </a:xfrm>
              <a:prstGeom prst="triangle">
                <a:avLst>
                  <a:gd name="adj" fmla="val 50000"/>
                </a:avLst>
              </a:prstGeom>
              <a:gradFill rotWithShape="0">
                <a:gsLst>
                  <a:gs pos="0">
                    <a:srgbClr val="F5BB53"/>
                  </a:gs>
                  <a:gs pos="50000">
                    <a:srgbClr val="FFFFFF"/>
                  </a:gs>
                  <a:gs pos="100000">
                    <a:srgbClr val="F5BB53"/>
                  </a:gs>
                </a:gsLst>
                <a:lin ang="2700000" scaled="1"/>
              </a:gradFill>
              <a:ln w="9525">
                <a:solidFill>
                  <a:srgbClr val="FFC000"/>
                </a:solidFill>
                <a:miter lim="800000"/>
                <a:headEnd/>
                <a:tailEnd/>
              </a:ln>
              <a:effectLst>
                <a:reflection blurRad="6350" stA="50000" endA="300" endPos="55000" dir="5400000" sy="-100000" algn="bl" rotWithShape="0"/>
              </a:effectLst>
            </p:spPr>
            <p:txBody>
              <a:bodyPr anchor="ctr"/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None/>
                  <a:defRPr/>
                </a:pPr>
                <a:r>
                  <a:rPr lang="it-IT" dirty="0">
                    <a:latin typeface="Calibri" pitchFamily="34" charset="0"/>
                    <a:ea typeface="ＭＳ Ｐゴシック" pitchFamily="34" charset="-128"/>
                  </a:rPr>
                  <a:t>3</a:t>
                </a:r>
              </a:p>
            </p:txBody>
          </p:sp>
          <p:sp>
            <p:nvSpPr>
              <p:cNvPr id="180" name="Freeform 123"/>
              <p:cNvSpPr>
                <a:spLocks noChangeAspect="1"/>
              </p:cNvSpPr>
              <p:nvPr/>
            </p:nvSpPr>
            <p:spPr bwMode="auto">
              <a:xfrm>
                <a:off x="6045831" y="1193290"/>
                <a:ext cx="306147" cy="482792"/>
              </a:xfrm>
              <a:custGeom>
                <a:avLst/>
                <a:gdLst>
                  <a:gd name="T0" fmla="*/ 0 w 440"/>
                  <a:gd name="T1" fmla="*/ 0 h 832"/>
                  <a:gd name="T2" fmla="*/ 2147483647 w 440"/>
                  <a:gd name="T3" fmla="*/ 2147483647 h 832"/>
                  <a:gd name="T4" fmla="*/ 2147483647 w 440"/>
                  <a:gd name="T5" fmla="*/ 2147483647 h 832"/>
                  <a:gd name="T6" fmla="*/ 0 60000 65536"/>
                  <a:gd name="T7" fmla="*/ 0 60000 65536"/>
                  <a:gd name="T8" fmla="*/ 0 60000 65536"/>
                  <a:gd name="T9" fmla="*/ 0 w 440"/>
                  <a:gd name="T10" fmla="*/ 0 h 832"/>
                  <a:gd name="T11" fmla="*/ 440 w 440"/>
                  <a:gd name="T12" fmla="*/ 832 h 83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40" h="832">
                    <a:moveTo>
                      <a:pt x="0" y="0"/>
                    </a:moveTo>
                    <a:lnTo>
                      <a:pt x="440" y="460"/>
                    </a:lnTo>
                    <a:lnTo>
                      <a:pt x="402" y="832"/>
                    </a:lnTo>
                  </a:path>
                </a:pathLst>
              </a:custGeom>
              <a:gradFill rotWithShape="0">
                <a:gsLst>
                  <a:gs pos="0">
                    <a:srgbClr val="F5BB53"/>
                  </a:gs>
                  <a:gs pos="50000">
                    <a:srgbClr val="FFFFFF"/>
                  </a:gs>
                  <a:gs pos="100000">
                    <a:srgbClr val="F5BB53"/>
                  </a:gs>
                </a:gsLst>
                <a:lin ang="2700000" scaled="1"/>
              </a:gradFill>
              <a:ln w="9525">
                <a:solidFill>
                  <a:srgbClr val="FFC000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82" name="Cloud 181"/>
              <p:cNvSpPr/>
              <p:nvPr/>
            </p:nvSpPr>
            <p:spPr bwMode="auto">
              <a:xfrm>
                <a:off x="4890183" y="1741710"/>
                <a:ext cx="1536470" cy="666321"/>
              </a:xfrm>
              <a:prstGeom prst="cloud">
                <a:avLst/>
              </a:prstGeom>
              <a:ln>
                <a:headEnd type="none" w="med" len="med"/>
                <a:tailEnd type="none" w="med" len="med"/>
              </a:ln>
              <a:scene3d>
                <a:camera prst="orthographicFront">
                  <a:rot lat="18736398" lon="1357748" rev="20571451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style>
              <a:lnRef idx="0">
                <a:schemeClr val="accent6"/>
              </a:lnRef>
              <a:fillRef idx="3">
                <a:schemeClr val="accent6"/>
              </a:fillRef>
              <a:effectRef idx="3">
                <a:schemeClr val="accent6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None/>
                  <a:defRPr/>
                </a:pPr>
                <a:r>
                  <a:rPr lang="it-IT" sz="1400" dirty="0">
                    <a:solidFill>
                      <a:srgbClr val="C00000"/>
                    </a:solidFill>
                  </a:rPr>
                  <a:t>PSTN/ Internet</a:t>
                </a:r>
              </a:p>
            </p:txBody>
          </p:sp>
          <p:sp>
            <p:nvSpPr>
              <p:cNvPr id="183" name="Freeform 282"/>
              <p:cNvSpPr>
                <a:spLocks noChangeArrowheads="1"/>
              </p:cNvSpPr>
              <p:nvPr/>
            </p:nvSpPr>
            <p:spPr bwMode="auto">
              <a:xfrm>
                <a:off x="4559193" y="2095054"/>
                <a:ext cx="359534" cy="0"/>
              </a:xfrm>
              <a:custGeom>
                <a:avLst/>
                <a:gdLst>
                  <a:gd name="T0" fmla="*/ 0 w 371475"/>
                  <a:gd name="T1" fmla="*/ 371475 w 371475"/>
                  <a:gd name="T2" fmla="*/ 0 60000 65536"/>
                  <a:gd name="T3" fmla="*/ 0 60000 65536"/>
                  <a:gd name="T4" fmla="*/ 0 w 371475"/>
                  <a:gd name="T5" fmla="*/ 371475 w 371475"/>
                </a:gdLst>
                <a:ahLst/>
                <a:cxnLst>
                  <a:cxn ang="T2">
                    <a:pos x="T0" y="0"/>
                  </a:cxn>
                  <a:cxn ang="T3">
                    <a:pos x="T1" y="0"/>
                  </a:cxn>
                </a:cxnLst>
                <a:rect l="T4" t="0" r="T5" b="0"/>
                <a:pathLst>
                  <a:path w="371475">
                    <a:moveTo>
                      <a:pt x="0" y="0"/>
                    </a:moveTo>
                    <a:lnTo>
                      <a:pt x="371475" y="0"/>
                    </a:lnTo>
                  </a:path>
                </a:pathLst>
              </a:custGeom>
              <a:noFill/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sp>
            <p:nvSpPr>
              <p:cNvPr id="184" name="Freeform 283"/>
              <p:cNvSpPr>
                <a:spLocks noChangeArrowheads="1"/>
              </p:cNvSpPr>
              <p:nvPr/>
            </p:nvSpPr>
            <p:spPr bwMode="auto">
              <a:xfrm>
                <a:off x="6394031" y="2044163"/>
                <a:ext cx="412739" cy="39681"/>
              </a:xfrm>
              <a:custGeom>
                <a:avLst/>
                <a:gdLst>
                  <a:gd name="T0" fmla="*/ 0 w 426447"/>
                  <a:gd name="T1" fmla="*/ 41005 h 41005"/>
                  <a:gd name="T2" fmla="*/ 426447 w 426447"/>
                  <a:gd name="T3" fmla="*/ 0 h 41005"/>
                  <a:gd name="T4" fmla="*/ 0 60000 65536"/>
                  <a:gd name="T5" fmla="*/ 0 60000 65536"/>
                  <a:gd name="T6" fmla="*/ 0 w 426447"/>
                  <a:gd name="T7" fmla="*/ 0 h 41005"/>
                  <a:gd name="T8" fmla="*/ 426447 w 426447"/>
                  <a:gd name="T9" fmla="*/ 41005 h 4100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426447" h="41005">
                    <a:moveTo>
                      <a:pt x="0" y="41005"/>
                    </a:moveTo>
                    <a:lnTo>
                      <a:pt x="426447" y="0"/>
                    </a:lnTo>
                  </a:path>
                </a:pathLst>
              </a:custGeom>
              <a:noFill/>
              <a:ln w="19050" algn="ctr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eaLnBrk="0" hangingPunct="0">
                  <a:spcBef>
                    <a:spcPct val="20000"/>
                  </a:spcBef>
                  <a:buClr>
                    <a:srgbClr val="F4BF17"/>
                  </a:buClr>
                  <a:buSzPct val="40000"/>
                  <a:buFont typeface="Marlett" pitchFamily="2" charset="2"/>
                  <a:buChar char="g"/>
                </a:pPr>
                <a:endParaRPr lang="it-IT"/>
              </a:p>
            </p:txBody>
          </p:sp>
          <p:pic>
            <p:nvPicPr>
              <p:cNvPr id="164" name="Picture 2"/>
              <p:cNvPicPr>
                <a:picLocks noChangeAspect="1" noChangeArrowheads="1"/>
              </p:cNvPicPr>
              <p:nvPr/>
            </p:nvPicPr>
            <p:blipFill>
              <a:blip r:embed="rId18" cstate="print"/>
              <a:stretch>
                <a:fillRect/>
              </a:stretch>
            </p:blipFill>
            <p:spPr bwMode="auto">
              <a:xfrm rot="1039092">
                <a:off x="6773814" y="1182292"/>
                <a:ext cx="726843" cy="27993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scene3d>
                <a:camera prst="isometricOffAxis1Top">
                  <a:rot lat="18258815" lon="20955031" rev="1560000"/>
                </a:camera>
                <a:lightRig rig="threePt" dir="t"/>
              </a:scene3d>
              <a:sp3d contourW="12700" prstMaterial="matte">
                <a:bevelT/>
                <a:bevelB/>
                <a:contourClr>
                  <a:schemeClr val="bg1"/>
                </a:contourClr>
              </a:sp3d>
            </p:spPr>
          </p:pic>
        </p:grpSp>
        <p:sp>
          <p:nvSpPr>
            <p:cNvPr id="181" name="Rectangle 14"/>
            <p:cNvSpPr>
              <a:spLocks noChangeArrowheads="1"/>
            </p:cNvSpPr>
            <p:nvPr/>
          </p:nvSpPr>
          <p:spPr bwMode="auto">
            <a:xfrm>
              <a:off x="2939936" y="1883049"/>
              <a:ext cx="1403837" cy="2978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>
                <a:rot lat="910365" lon="2908724" rev="5143582"/>
              </a:camera>
              <a:lightRig rig="threePt" dir="t"/>
            </a:scene3d>
          </p:spPr>
          <p:txBody>
            <a:bodyPr wrap="none">
              <a:spAutoFit/>
            </a:bodyPr>
            <a:lstStyle/>
            <a:p>
              <a:pPr eaLnBrk="0" hangingPunct="0">
                <a:spcBef>
                  <a:spcPct val="50000"/>
                </a:spcBef>
                <a:buSzPct val="40000"/>
                <a:defRPr/>
              </a:pPr>
              <a:r>
                <a:rPr lang="it-IT" sz="1400" dirty="0">
                  <a:solidFill>
                    <a:srgbClr val="FF0000"/>
                  </a:solidFill>
                  <a:latin typeface="Calibri" pitchFamily="34" charset="0"/>
                  <a:ea typeface="ＭＳ Ｐゴシック" pitchFamily="34" charset="-128"/>
                </a:rPr>
                <a:t>Service Platforms</a:t>
              </a:r>
            </a:p>
          </p:txBody>
        </p:sp>
      </p:grpSp>
      <p:sp>
        <p:nvSpPr>
          <p:cNvPr id="118" name="Slide Number Placeholder 1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6</a:t>
            </a:fld>
            <a:endParaRPr lang="it-IT" sz="1400">
              <a:latin typeface="Times New Roman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9" grpId="0" uiExpand="1">
        <p:bldAsOne/>
      </p:bldGraphic>
      <p:bldP spid="108" grpId="0" uiExpan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0" name="Picture Placeholder 509" descr="Musica10.jpg"/>
          <p:cNvPicPr>
            <a:picLocks noGrp="1" noChangeAspect="1"/>
          </p:cNvPicPr>
          <p:nvPr>
            <p:ph type="pic" idx="1"/>
          </p:nvPr>
        </p:nvPicPr>
        <p:blipFill>
          <a:blip r:embed="rId3" cstate="print">
            <a:lum bright="16000"/>
          </a:blip>
          <a:srcRect t="13290" b="13290"/>
          <a:stretch>
            <a:fillRect/>
          </a:stretch>
        </p:blipFill>
        <p:spPr/>
      </p:pic>
      <p:sp>
        <p:nvSpPr>
          <p:cNvPr id="984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Piattaforme e accesso: uno sviluppo armonico</a:t>
            </a:r>
            <a:endParaRPr lang="it-IT" dirty="0"/>
          </a:p>
        </p:txBody>
      </p:sp>
      <p:grpSp>
        <p:nvGrpSpPr>
          <p:cNvPr id="2" name="Group 386"/>
          <p:cNvGrpSpPr/>
          <p:nvPr/>
        </p:nvGrpSpPr>
        <p:grpSpPr>
          <a:xfrm>
            <a:off x="4155151" y="927393"/>
            <a:ext cx="5435320" cy="2808785"/>
            <a:chOff x="419272" y="3481825"/>
            <a:chExt cx="5435320" cy="28087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" name="Group 519"/>
            <p:cNvGrpSpPr>
              <a:grpSpLocks noChangeAspect="1"/>
            </p:cNvGrpSpPr>
            <p:nvPr/>
          </p:nvGrpSpPr>
          <p:grpSpPr>
            <a:xfrm>
              <a:off x="419272" y="3481825"/>
              <a:ext cx="5435320" cy="2808785"/>
              <a:chOff x="1438768" y="2619977"/>
              <a:chExt cx="5328745" cy="2753711"/>
            </a:xfrm>
          </p:grpSpPr>
          <p:sp>
            <p:nvSpPr>
              <p:cNvPr id="521" name="Rectangle 520"/>
              <p:cNvSpPr/>
              <p:nvPr/>
            </p:nvSpPr>
            <p:spPr>
              <a:xfrm>
                <a:off x="1438768" y="2619977"/>
                <a:ext cx="5328745" cy="2753711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3500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</a:gradFill>
              <a:ln w="50800">
                <a:solidFill>
                  <a:srgbClr val="0070C0"/>
                </a:solidFill>
                <a:headEnd type="none" w="med" len="med"/>
                <a:tailEnd type="none" w="med" len="med"/>
              </a:ln>
              <a:scene3d>
                <a:camera prst="orthographicFront"/>
                <a:lightRig rig="threePt" dir="t"/>
              </a:scene3d>
              <a:sp3d>
                <a:bevelT prst="slope"/>
              </a:sp3d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SzPct val="40000"/>
                  <a:defRPr/>
                </a:pPr>
                <a:endParaRPr lang="it-IT" sz="1200" b="1" i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4" name="Group 23"/>
              <p:cNvGrpSpPr/>
              <p:nvPr/>
            </p:nvGrpSpPr>
            <p:grpSpPr>
              <a:xfrm>
                <a:off x="1468395" y="2637175"/>
                <a:ext cx="5264193" cy="2700000"/>
                <a:chOff x="1468395" y="2637175"/>
                <a:chExt cx="5264193" cy="2700000"/>
              </a:xfrm>
            </p:grpSpPr>
            <p:sp>
              <p:nvSpPr>
                <p:cNvPr id="552" name="Rectangle 551"/>
                <p:cNvSpPr/>
                <p:nvPr/>
              </p:nvSpPr>
              <p:spPr>
                <a:xfrm>
                  <a:off x="1468395" y="515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53" name="Rectangle 552"/>
                <p:cNvSpPr/>
                <p:nvPr/>
              </p:nvSpPr>
              <p:spPr>
                <a:xfrm>
                  <a:off x="1468395" y="497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54" name="Rectangle 553"/>
                <p:cNvSpPr/>
                <p:nvPr/>
              </p:nvSpPr>
              <p:spPr>
                <a:xfrm>
                  <a:off x="1468395" y="479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55" name="Rectangle 554"/>
                <p:cNvSpPr/>
                <p:nvPr/>
              </p:nvSpPr>
              <p:spPr>
                <a:xfrm>
                  <a:off x="1468395" y="461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56" name="Rectangle 555"/>
                <p:cNvSpPr/>
                <p:nvPr/>
              </p:nvSpPr>
              <p:spPr>
                <a:xfrm>
                  <a:off x="1468395" y="443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57" name="Rectangle 556"/>
                <p:cNvSpPr/>
                <p:nvPr/>
              </p:nvSpPr>
              <p:spPr>
                <a:xfrm>
                  <a:off x="1468395" y="425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58" name="Rectangle 557"/>
                <p:cNvSpPr/>
                <p:nvPr/>
              </p:nvSpPr>
              <p:spPr>
                <a:xfrm>
                  <a:off x="1468395" y="407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59" name="Rectangle 558"/>
                <p:cNvSpPr/>
                <p:nvPr/>
              </p:nvSpPr>
              <p:spPr>
                <a:xfrm>
                  <a:off x="1468395" y="389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60" name="Rectangle 559"/>
                <p:cNvSpPr/>
                <p:nvPr/>
              </p:nvSpPr>
              <p:spPr>
                <a:xfrm>
                  <a:off x="1468395" y="371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61" name="Rectangle 560"/>
                <p:cNvSpPr/>
                <p:nvPr/>
              </p:nvSpPr>
              <p:spPr>
                <a:xfrm>
                  <a:off x="1468395" y="353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62" name="Rectangle 561"/>
                <p:cNvSpPr/>
                <p:nvPr/>
              </p:nvSpPr>
              <p:spPr>
                <a:xfrm>
                  <a:off x="1468395" y="335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63" name="Rectangle 562"/>
                <p:cNvSpPr/>
                <p:nvPr/>
              </p:nvSpPr>
              <p:spPr>
                <a:xfrm>
                  <a:off x="1468395" y="317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64" name="Rectangle 563"/>
                <p:cNvSpPr/>
                <p:nvPr/>
              </p:nvSpPr>
              <p:spPr>
                <a:xfrm>
                  <a:off x="1468395" y="299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65" name="Rectangle 564"/>
                <p:cNvSpPr/>
                <p:nvPr/>
              </p:nvSpPr>
              <p:spPr>
                <a:xfrm>
                  <a:off x="1468395" y="281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66" name="Rectangle 565"/>
                <p:cNvSpPr/>
                <p:nvPr/>
              </p:nvSpPr>
              <p:spPr>
                <a:xfrm>
                  <a:off x="1468395" y="2637175"/>
                  <a:ext cx="5264193" cy="180000"/>
                </a:xfrm>
                <a:prstGeom prst="rect">
                  <a:avLst/>
                </a:prstGeom>
                <a:noFill/>
                <a:ln w="12700"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</p:grpSp>
          <p:sp>
            <p:nvSpPr>
              <p:cNvPr id="523" name="Rectangle 522"/>
              <p:cNvSpPr/>
              <p:nvPr/>
            </p:nvSpPr>
            <p:spPr>
              <a:xfrm>
                <a:off x="1468395" y="2637175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24" name="Rectangle 523"/>
              <p:cNvSpPr/>
              <p:nvPr/>
            </p:nvSpPr>
            <p:spPr>
              <a:xfrm>
                <a:off x="1648395" y="2637174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25" name="Rectangle 524"/>
              <p:cNvSpPr/>
              <p:nvPr/>
            </p:nvSpPr>
            <p:spPr>
              <a:xfrm>
                <a:off x="1828395" y="2637176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26" name="Rectangle 525"/>
              <p:cNvSpPr/>
              <p:nvPr/>
            </p:nvSpPr>
            <p:spPr>
              <a:xfrm>
                <a:off x="2008395" y="2637175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27" name="Rectangle 526"/>
              <p:cNvSpPr/>
              <p:nvPr/>
            </p:nvSpPr>
            <p:spPr>
              <a:xfrm>
                <a:off x="2188395" y="2637177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28" name="Rectangle 527"/>
              <p:cNvSpPr/>
              <p:nvPr/>
            </p:nvSpPr>
            <p:spPr>
              <a:xfrm>
                <a:off x="2368395" y="2637176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29" name="Rectangle 528"/>
              <p:cNvSpPr/>
              <p:nvPr/>
            </p:nvSpPr>
            <p:spPr>
              <a:xfrm>
                <a:off x="2548395" y="2637178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0" name="Rectangle 529"/>
              <p:cNvSpPr/>
              <p:nvPr/>
            </p:nvSpPr>
            <p:spPr>
              <a:xfrm>
                <a:off x="2728395" y="2637177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1" name="Rectangle 530"/>
              <p:cNvSpPr/>
              <p:nvPr/>
            </p:nvSpPr>
            <p:spPr>
              <a:xfrm>
                <a:off x="2908395" y="2637171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2" name="Rectangle 531"/>
              <p:cNvSpPr/>
              <p:nvPr/>
            </p:nvSpPr>
            <p:spPr>
              <a:xfrm>
                <a:off x="3088395" y="2637170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3" name="Rectangle 532"/>
              <p:cNvSpPr/>
              <p:nvPr/>
            </p:nvSpPr>
            <p:spPr>
              <a:xfrm>
                <a:off x="3268395" y="2637172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4" name="Rectangle 533"/>
              <p:cNvSpPr/>
              <p:nvPr/>
            </p:nvSpPr>
            <p:spPr>
              <a:xfrm>
                <a:off x="3448395" y="2637171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5" name="Rectangle 534"/>
              <p:cNvSpPr/>
              <p:nvPr/>
            </p:nvSpPr>
            <p:spPr>
              <a:xfrm>
                <a:off x="3628395" y="2637173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6" name="Rectangle 535"/>
              <p:cNvSpPr/>
              <p:nvPr/>
            </p:nvSpPr>
            <p:spPr>
              <a:xfrm>
                <a:off x="3808395" y="2637172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7" name="Rectangle 536"/>
              <p:cNvSpPr/>
              <p:nvPr/>
            </p:nvSpPr>
            <p:spPr>
              <a:xfrm>
                <a:off x="3988395" y="2637174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8" name="Rectangle 537"/>
              <p:cNvSpPr/>
              <p:nvPr/>
            </p:nvSpPr>
            <p:spPr>
              <a:xfrm>
                <a:off x="4168395" y="2637173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39" name="Rectangle 538"/>
              <p:cNvSpPr/>
              <p:nvPr/>
            </p:nvSpPr>
            <p:spPr>
              <a:xfrm>
                <a:off x="4348395" y="2637167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0" name="Rectangle 539"/>
              <p:cNvSpPr/>
              <p:nvPr/>
            </p:nvSpPr>
            <p:spPr>
              <a:xfrm>
                <a:off x="4528395" y="2637166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1" name="Rectangle 540"/>
              <p:cNvSpPr/>
              <p:nvPr/>
            </p:nvSpPr>
            <p:spPr>
              <a:xfrm>
                <a:off x="4708395" y="2637168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2" name="Rectangle 541"/>
              <p:cNvSpPr/>
              <p:nvPr/>
            </p:nvSpPr>
            <p:spPr>
              <a:xfrm>
                <a:off x="4888395" y="2637167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3" name="Rectangle 542"/>
              <p:cNvSpPr/>
              <p:nvPr/>
            </p:nvSpPr>
            <p:spPr>
              <a:xfrm>
                <a:off x="5068395" y="2637169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4" name="Rectangle 543"/>
              <p:cNvSpPr/>
              <p:nvPr/>
            </p:nvSpPr>
            <p:spPr>
              <a:xfrm>
                <a:off x="5248395" y="2637168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5" name="Rectangle 544"/>
              <p:cNvSpPr/>
              <p:nvPr/>
            </p:nvSpPr>
            <p:spPr>
              <a:xfrm>
                <a:off x="5428395" y="2637170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6" name="Rectangle 545"/>
              <p:cNvSpPr/>
              <p:nvPr/>
            </p:nvSpPr>
            <p:spPr>
              <a:xfrm>
                <a:off x="5608395" y="2637169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7" name="Rectangle 546"/>
              <p:cNvSpPr/>
              <p:nvPr/>
            </p:nvSpPr>
            <p:spPr>
              <a:xfrm>
                <a:off x="5788395" y="2637178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8" name="Rectangle 547"/>
              <p:cNvSpPr/>
              <p:nvPr/>
            </p:nvSpPr>
            <p:spPr>
              <a:xfrm>
                <a:off x="5968395" y="2637180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49" name="Rectangle 548"/>
              <p:cNvSpPr/>
              <p:nvPr/>
            </p:nvSpPr>
            <p:spPr>
              <a:xfrm>
                <a:off x="6148395" y="2637179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50" name="Rectangle 549"/>
              <p:cNvSpPr/>
              <p:nvPr/>
            </p:nvSpPr>
            <p:spPr>
              <a:xfrm>
                <a:off x="6328395" y="2637181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551" name="Rectangle 550"/>
              <p:cNvSpPr/>
              <p:nvPr/>
            </p:nvSpPr>
            <p:spPr>
              <a:xfrm>
                <a:off x="6508395" y="2637180"/>
                <a:ext cx="180000" cy="2700001"/>
              </a:xfrm>
              <a:prstGeom prst="rect">
                <a:avLst/>
              </a:prstGeom>
              <a:noFill/>
              <a:ln w="12700">
                <a:solidFill>
                  <a:schemeClr val="accent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</p:grpSp>
        <p:grpSp>
          <p:nvGrpSpPr>
            <p:cNvPr id="5" name="Group 231"/>
            <p:cNvGrpSpPr/>
            <p:nvPr/>
          </p:nvGrpSpPr>
          <p:grpSpPr>
            <a:xfrm>
              <a:off x="486429" y="3518587"/>
              <a:ext cx="5295827" cy="2515353"/>
              <a:chOff x="796925" y="1816101"/>
              <a:chExt cx="7458238" cy="4113213"/>
            </a:xfrm>
          </p:grpSpPr>
          <p:sp>
            <p:nvSpPr>
              <p:cNvPr id="223" name="AutoShape 9"/>
              <p:cNvSpPr>
                <a:spLocks noChangeAspect="1" noChangeArrowheads="1"/>
              </p:cNvSpPr>
              <p:nvPr/>
            </p:nvSpPr>
            <p:spPr bwMode="auto">
              <a:xfrm>
                <a:off x="796925" y="1816101"/>
                <a:ext cx="85725" cy="4113213"/>
              </a:xfrm>
              <a:prstGeom prst="roundRect">
                <a:avLst>
                  <a:gd name="adj" fmla="val 16667"/>
                </a:avLst>
              </a:prstGeom>
              <a:gradFill rotWithShape="0">
                <a:gsLst>
                  <a:gs pos="0">
                    <a:srgbClr val="F8B700">
                      <a:gamma/>
                      <a:shade val="85490"/>
                      <a:invGamma/>
                    </a:srgbClr>
                  </a:gs>
                  <a:gs pos="50000">
                    <a:srgbClr val="F8B700"/>
                  </a:gs>
                  <a:gs pos="100000">
                    <a:srgbClr val="F8B700">
                      <a:gamma/>
                      <a:shade val="85490"/>
                      <a:invGamma/>
                    </a:srgb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rgbClr val="4B5E61"/>
                </a:outerShdw>
              </a:effectLst>
            </p:spPr>
            <p:txBody>
              <a:bodyPr wrap="none" lIns="82124" tIns="41061" rIns="82124" bIns="41061" anchor="ctr"/>
              <a:lstStyle/>
              <a:p>
                <a:endParaRPr lang="it-IT"/>
              </a:p>
            </p:txBody>
          </p:sp>
          <p:sp>
            <p:nvSpPr>
              <p:cNvPr id="231" name="AutoShape 10"/>
              <p:cNvSpPr>
                <a:spLocks noChangeAspect="1" noChangeArrowheads="1"/>
              </p:cNvSpPr>
              <p:nvPr/>
            </p:nvSpPr>
            <p:spPr bwMode="auto">
              <a:xfrm>
                <a:off x="855665" y="5828737"/>
                <a:ext cx="7399498" cy="96803"/>
              </a:xfrm>
              <a:prstGeom prst="roundRect">
                <a:avLst>
                  <a:gd name="adj" fmla="val 16667"/>
                </a:avLst>
              </a:prstGeom>
              <a:gradFill rotWithShape="0">
                <a:gsLst>
                  <a:gs pos="0">
                    <a:srgbClr val="F8B700">
                      <a:gamma/>
                      <a:shade val="87451"/>
                      <a:invGamma/>
                    </a:srgbClr>
                  </a:gs>
                  <a:gs pos="50000">
                    <a:srgbClr val="F8B700"/>
                  </a:gs>
                  <a:gs pos="100000">
                    <a:srgbClr val="F8B700">
                      <a:gamma/>
                      <a:shade val="87451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>
                <a:outerShdw dist="35921" dir="2700000" algn="ctr" rotWithShape="0">
                  <a:srgbClr val="4B5E61"/>
                </a:outerShdw>
              </a:effectLst>
            </p:spPr>
            <p:txBody>
              <a:bodyPr wrap="none" lIns="82124" tIns="41061" rIns="82124" bIns="41061" anchor="ctr"/>
              <a:lstStyle/>
              <a:p>
                <a:pPr marL="228600" indent="-228600">
                  <a:buNone/>
                </a:pPr>
                <a:endParaRPr lang="it-IT"/>
              </a:p>
            </p:txBody>
          </p:sp>
        </p:grpSp>
      </p:grpSp>
      <p:grpSp>
        <p:nvGrpSpPr>
          <p:cNvPr id="6" name="Group 384"/>
          <p:cNvGrpSpPr/>
          <p:nvPr/>
        </p:nvGrpSpPr>
        <p:grpSpPr>
          <a:xfrm>
            <a:off x="4299698" y="1931244"/>
            <a:ext cx="5189778" cy="1479058"/>
            <a:chOff x="563819" y="4485676"/>
            <a:chExt cx="5189778" cy="1479058"/>
          </a:xfrm>
        </p:grpSpPr>
        <p:sp>
          <p:nvSpPr>
            <p:cNvPr id="250" name="Freeform 17"/>
            <p:cNvSpPr>
              <a:spLocks noChangeAspect="1"/>
            </p:cNvSpPr>
            <p:nvPr/>
          </p:nvSpPr>
          <p:spPr bwMode="auto">
            <a:xfrm>
              <a:off x="563819" y="4485676"/>
              <a:ext cx="5189778" cy="1479058"/>
            </a:xfrm>
            <a:custGeom>
              <a:avLst/>
              <a:gdLst>
                <a:gd name="connsiteX0" fmla="*/ 0 w 4134"/>
                <a:gd name="connsiteY0" fmla="*/ 1790 h 2296"/>
                <a:gd name="connsiteX1" fmla="*/ 2894 w 4134"/>
                <a:gd name="connsiteY1" fmla="*/ 31 h 2296"/>
                <a:gd name="connsiteX2" fmla="*/ 4134 w 4134"/>
                <a:gd name="connsiteY2" fmla="*/ 0 h 2296"/>
                <a:gd name="connsiteX3" fmla="*/ 947 w 4134"/>
                <a:gd name="connsiteY3" fmla="*/ 2296 h 2296"/>
                <a:gd name="connsiteX4" fmla="*/ 0 w 4134"/>
                <a:gd name="connsiteY4" fmla="*/ 2296 h 2296"/>
                <a:gd name="connsiteX5" fmla="*/ 0 w 4134"/>
                <a:gd name="connsiteY5" fmla="*/ 1754 h 2296"/>
                <a:gd name="connsiteX6" fmla="*/ 0 w 4134"/>
                <a:gd name="connsiteY6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894 w 4134"/>
                <a:gd name="connsiteY2" fmla="*/ 31 h 2296"/>
                <a:gd name="connsiteX3" fmla="*/ 4134 w 4134"/>
                <a:gd name="connsiteY3" fmla="*/ 0 h 2296"/>
                <a:gd name="connsiteX4" fmla="*/ 947 w 4134"/>
                <a:gd name="connsiteY4" fmla="*/ 2296 h 2296"/>
                <a:gd name="connsiteX5" fmla="*/ 0 w 4134"/>
                <a:gd name="connsiteY5" fmla="*/ 2296 h 2296"/>
                <a:gd name="connsiteX6" fmla="*/ 0 w 4134"/>
                <a:gd name="connsiteY6" fmla="*/ 1754 h 2296"/>
                <a:gd name="connsiteX7" fmla="*/ 0 w 4134"/>
                <a:gd name="connsiteY7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947 w 4134"/>
                <a:gd name="connsiteY4" fmla="*/ 2296 h 2296"/>
                <a:gd name="connsiteX5" fmla="*/ 0 w 4134"/>
                <a:gd name="connsiteY5" fmla="*/ 2296 h 2296"/>
                <a:gd name="connsiteX6" fmla="*/ 0 w 4134"/>
                <a:gd name="connsiteY6" fmla="*/ 1754 h 2296"/>
                <a:gd name="connsiteX7" fmla="*/ 0 w 4134"/>
                <a:gd name="connsiteY7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455 w 4134"/>
                <a:gd name="connsiteY4" fmla="*/ 925 h 2296"/>
                <a:gd name="connsiteX5" fmla="*/ 947 w 4134"/>
                <a:gd name="connsiteY5" fmla="*/ 2296 h 2296"/>
                <a:gd name="connsiteX6" fmla="*/ 0 w 4134"/>
                <a:gd name="connsiteY6" fmla="*/ 2296 h 2296"/>
                <a:gd name="connsiteX7" fmla="*/ 0 w 4134"/>
                <a:gd name="connsiteY7" fmla="*/ 1754 h 2296"/>
                <a:gd name="connsiteX8" fmla="*/ 0 w 4134"/>
                <a:gd name="connsiteY8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455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3143 w 4134"/>
                <a:gd name="connsiteY6" fmla="*/ 760 h 2296"/>
                <a:gd name="connsiteX7" fmla="*/ 947 w 4134"/>
                <a:gd name="connsiteY7" fmla="*/ 2296 h 2296"/>
                <a:gd name="connsiteX8" fmla="*/ 0 w 4134"/>
                <a:gd name="connsiteY8" fmla="*/ 2296 h 2296"/>
                <a:gd name="connsiteX9" fmla="*/ 0 w 4134"/>
                <a:gd name="connsiteY9" fmla="*/ 1754 h 2296"/>
                <a:gd name="connsiteX10" fmla="*/ 0 w 4134"/>
                <a:gd name="connsiteY10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146 w 4134"/>
                <a:gd name="connsiteY5" fmla="*/ 67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101 w 4134"/>
                <a:gd name="connsiteY5" fmla="*/ 715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230 w 4134"/>
                <a:gd name="connsiteY4" fmla="*/ 970 h 2296"/>
                <a:gd name="connsiteX5" fmla="*/ 3101 w 4134"/>
                <a:gd name="connsiteY5" fmla="*/ 715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3729"/>
                <a:gd name="connsiteY0" fmla="*/ 1610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574 h 2116"/>
                <a:gd name="connsiteX9" fmla="*/ 0 w 3729"/>
                <a:gd name="connsiteY9" fmla="*/ 1610 h 2116"/>
                <a:gd name="connsiteX0" fmla="*/ 0 w 3729"/>
                <a:gd name="connsiteY0" fmla="*/ 1610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610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707 w 3729"/>
                <a:gd name="connsiteY7" fmla="*/ 2110 h 2116"/>
                <a:gd name="connsiteX8" fmla="*/ 0 w 3729"/>
                <a:gd name="connsiteY8" fmla="*/ 2116 h 2116"/>
                <a:gd name="connsiteX9" fmla="*/ 0 w 3729"/>
                <a:gd name="connsiteY9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769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757 w 3729"/>
                <a:gd name="connsiteY2" fmla="*/ 230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769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757 w 3729"/>
                <a:gd name="connsiteY2" fmla="*/ 230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38 w 3729"/>
                <a:gd name="connsiteY5" fmla="*/ 636 h 2116"/>
                <a:gd name="connsiteX6" fmla="*/ 3101 w 3729"/>
                <a:gd name="connsiteY6" fmla="*/ 535 h 2116"/>
                <a:gd name="connsiteX7" fmla="*/ 769 w 3729"/>
                <a:gd name="connsiteY7" fmla="*/ 2116 h 2116"/>
                <a:gd name="connsiteX8" fmla="*/ 0 w 3729"/>
                <a:gd name="connsiteY8" fmla="*/ 2116 h 2116"/>
                <a:gd name="connsiteX9" fmla="*/ 0 w 3729"/>
                <a:gd name="connsiteY9" fmla="*/ 1833 h 2116"/>
                <a:gd name="connsiteX0" fmla="*/ 3138 w 3729"/>
                <a:gd name="connsiteY0" fmla="*/ 636 h 2116"/>
                <a:gd name="connsiteX1" fmla="*/ 3101 w 3729"/>
                <a:gd name="connsiteY1" fmla="*/ 535 h 2116"/>
                <a:gd name="connsiteX2" fmla="*/ 769 w 3729"/>
                <a:gd name="connsiteY2" fmla="*/ 2116 h 2116"/>
                <a:gd name="connsiteX3" fmla="*/ 0 w 3729"/>
                <a:gd name="connsiteY3" fmla="*/ 2116 h 2116"/>
                <a:gd name="connsiteX4" fmla="*/ 0 w 3729"/>
                <a:gd name="connsiteY4" fmla="*/ 1833 h 2116"/>
                <a:gd name="connsiteX5" fmla="*/ 2864 w 3729"/>
                <a:gd name="connsiteY5" fmla="*/ 325 h 2116"/>
                <a:gd name="connsiteX6" fmla="*/ 2757 w 3729"/>
                <a:gd name="connsiteY6" fmla="*/ 230 h 2116"/>
                <a:gd name="connsiteX7" fmla="*/ 3729 w 3729"/>
                <a:gd name="connsiteY7" fmla="*/ 0 h 2116"/>
                <a:gd name="connsiteX8" fmla="*/ 3306 w 3729"/>
                <a:gd name="connsiteY8" fmla="*/ 885 h 2116"/>
                <a:gd name="connsiteX0" fmla="*/ 3138 w 3729"/>
                <a:gd name="connsiteY0" fmla="*/ 636 h 2116"/>
                <a:gd name="connsiteX1" fmla="*/ 3101 w 3729"/>
                <a:gd name="connsiteY1" fmla="*/ 535 h 2116"/>
                <a:gd name="connsiteX2" fmla="*/ 769 w 3729"/>
                <a:gd name="connsiteY2" fmla="*/ 2116 h 2116"/>
                <a:gd name="connsiteX3" fmla="*/ 0 w 3729"/>
                <a:gd name="connsiteY3" fmla="*/ 2116 h 2116"/>
                <a:gd name="connsiteX4" fmla="*/ 0 w 3729"/>
                <a:gd name="connsiteY4" fmla="*/ 1833 h 2116"/>
                <a:gd name="connsiteX5" fmla="*/ 2864 w 3729"/>
                <a:gd name="connsiteY5" fmla="*/ 325 h 2116"/>
                <a:gd name="connsiteX6" fmla="*/ 2757 w 3729"/>
                <a:gd name="connsiteY6" fmla="*/ 230 h 2116"/>
                <a:gd name="connsiteX7" fmla="*/ 3729 w 3729"/>
                <a:gd name="connsiteY7" fmla="*/ 0 h 2116"/>
                <a:gd name="connsiteX0" fmla="*/ 3138 w 3199"/>
                <a:gd name="connsiteY0" fmla="*/ 406 h 1886"/>
                <a:gd name="connsiteX1" fmla="*/ 3101 w 3199"/>
                <a:gd name="connsiteY1" fmla="*/ 30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64 w 3199"/>
                <a:gd name="connsiteY5" fmla="*/ 95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138 w 3199"/>
                <a:gd name="connsiteY0" fmla="*/ 406 h 1886"/>
                <a:gd name="connsiteX1" fmla="*/ 3101 w 3199"/>
                <a:gd name="connsiteY1" fmla="*/ 30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64 w 3199"/>
                <a:gd name="connsiteY5" fmla="*/ 95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138 w 3199"/>
                <a:gd name="connsiteY0" fmla="*/ 406 h 1886"/>
                <a:gd name="connsiteX1" fmla="*/ 3101 w 3199"/>
                <a:gd name="connsiteY1" fmla="*/ 30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64 w 3199"/>
                <a:gd name="connsiteY5" fmla="*/ 95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138 w 3199"/>
                <a:gd name="connsiteY0" fmla="*/ 406 h 1886"/>
                <a:gd name="connsiteX1" fmla="*/ 3101 w 3199"/>
                <a:gd name="connsiteY1" fmla="*/ 30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64 w 3199"/>
                <a:gd name="connsiteY5" fmla="*/ 95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138 w 3199"/>
                <a:gd name="connsiteY0" fmla="*/ 406 h 1886"/>
                <a:gd name="connsiteX1" fmla="*/ 3001 w 3199"/>
                <a:gd name="connsiteY1" fmla="*/ 372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64 w 3199"/>
                <a:gd name="connsiteY5" fmla="*/ 95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138 w 3199"/>
                <a:gd name="connsiteY0" fmla="*/ 406 h 1886"/>
                <a:gd name="connsiteX1" fmla="*/ 3001 w 3199"/>
                <a:gd name="connsiteY1" fmla="*/ 372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64 w 3199"/>
                <a:gd name="connsiteY5" fmla="*/ 95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138 w 3395"/>
                <a:gd name="connsiteY0" fmla="*/ 406 h 1886"/>
                <a:gd name="connsiteX1" fmla="*/ 3071 w 3395"/>
                <a:gd name="connsiteY1" fmla="*/ 465 h 1886"/>
                <a:gd name="connsiteX2" fmla="*/ 3001 w 3395"/>
                <a:gd name="connsiteY2" fmla="*/ 372 h 1886"/>
                <a:gd name="connsiteX3" fmla="*/ 769 w 3395"/>
                <a:gd name="connsiteY3" fmla="*/ 1886 h 1886"/>
                <a:gd name="connsiteX4" fmla="*/ 0 w 3395"/>
                <a:gd name="connsiteY4" fmla="*/ 1886 h 1886"/>
                <a:gd name="connsiteX5" fmla="*/ 0 w 3395"/>
                <a:gd name="connsiteY5" fmla="*/ 1603 h 1886"/>
                <a:gd name="connsiteX6" fmla="*/ 2864 w 3395"/>
                <a:gd name="connsiteY6" fmla="*/ 95 h 1886"/>
                <a:gd name="connsiteX7" fmla="*/ 2757 w 3395"/>
                <a:gd name="connsiteY7" fmla="*/ 0 h 1886"/>
                <a:gd name="connsiteX8" fmla="*/ 3199 w 3395"/>
                <a:gd name="connsiteY8" fmla="*/ 15 h 1886"/>
                <a:gd name="connsiteX0" fmla="*/ 3138 w 3199"/>
                <a:gd name="connsiteY0" fmla="*/ 406 h 1886"/>
                <a:gd name="connsiteX1" fmla="*/ 3071 w 3199"/>
                <a:gd name="connsiteY1" fmla="*/ 465 h 1886"/>
                <a:gd name="connsiteX2" fmla="*/ 3001 w 3199"/>
                <a:gd name="connsiteY2" fmla="*/ 372 h 1886"/>
                <a:gd name="connsiteX3" fmla="*/ 769 w 3199"/>
                <a:gd name="connsiteY3" fmla="*/ 1886 h 1886"/>
                <a:gd name="connsiteX4" fmla="*/ 0 w 3199"/>
                <a:gd name="connsiteY4" fmla="*/ 1886 h 1886"/>
                <a:gd name="connsiteX5" fmla="*/ 0 w 3199"/>
                <a:gd name="connsiteY5" fmla="*/ 1603 h 1886"/>
                <a:gd name="connsiteX6" fmla="*/ 2864 w 3199"/>
                <a:gd name="connsiteY6" fmla="*/ 95 h 1886"/>
                <a:gd name="connsiteX7" fmla="*/ 2757 w 3199"/>
                <a:gd name="connsiteY7" fmla="*/ 0 h 1886"/>
                <a:gd name="connsiteX8" fmla="*/ 3199 w 3199"/>
                <a:gd name="connsiteY8" fmla="*/ 15 h 1886"/>
                <a:gd name="connsiteX0" fmla="*/ 3071 w 3199"/>
                <a:gd name="connsiteY0" fmla="*/ 465 h 1886"/>
                <a:gd name="connsiteX1" fmla="*/ 3001 w 3199"/>
                <a:gd name="connsiteY1" fmla="*/ 372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64 w 3199"/>
                <a:gd name="connsiteY5" fmla="*/ 95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071 w 3199"/>
                <a:gd name="connsiteY0" fmla="*/ 465 h 1886"/>
                <a:gd name="connsiteX1" fmla="*/ 3001 w 3199"/>
                <a:gd name="connsiteY1" fmla="*/ 372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36 w 3199"/>
                <a:gd name="connsiteY5" fmla="*/ 136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071 w 3199"/>
                <a:gd name="connsiteY0" fmla="*/ 465 h 1886"/>
                <a:gd name="connsiteX1" fmla="*/ 3001 w 3199"/>
                <a:gd name="connsiteY1" fmla="*/ 372 h 1886"/>
                <a:gd name="connsiteX2" fmla="*/ 2968 w 3199"/>
                <a:gd name="connsiteY2" fmla="*/ 325 h 1886"/>
                <a:gd name="connsiteX3" fmla="*/ 769 w 3199"/>
                <a:gd name="connsiteY3" fmla="*/ 1886 h 1886"/>
                <a:gd name="connsiteX4" fmla="*/ 0 w 3199"/>
                <a:gd name="connsiteY4" fmla="*/ 1886 h 1886"/>
                <a:gd name="connsiteX5" fmla="*/ 0 w 3199"/>
                <a:gd name="connsiteY5" fmla="*/ 1603 h 1886"/>
                <a:gd name="connsiteX6" fmla="*/ 2836 w 3199"/>
                <a:gd name="connsiteY6" fmla="*/ 136 h 1886"/>
                <a:gd name="connsiteX7" fmla="*/ 2757 w 3199"/>
                <a:gd name="connsiteY7" fmla="*/ 0 h 1886"/>
                <a:gd name="connsiteX8" fmla="*/ 3199 w 3199"/>
                <a:gd name="connsiteY8" fmla="*/ 15 h 1886"/>
                <a:gd name="connsiteX0" fmla="*/ 3001 w 3199"/>
                <a:gd name="connsiteY0" fmla="*/ 372 h 1886"/>
                <a:gd name="connsiteX1" fmla="*/ 2968 w 3199"/>
                <a:gd name="connsiteY1" fmla="*/ 32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36 w 3199"/>
                <a:gd name="connsiteY5" fmla="*/ 136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001 w 3199"/>
                <a:gd name="connsiteY0" fmla="*/ 413 h 1886"/>
                <a:gd name="connsiteX1" fmla="*/ 2968 w 3199"/>
                <a:gd name="connsiteY1" fmla="*/ 32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36 w 3199"/>
                <a:gd name="connsiteY5" fmla="*/ 136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001 w 3199"/>
                <a:gd name="connsiteY0" fmla="*/ 413 h 1886"/>
                <a:gd name="connsiteX1" fmla="*/ 2968 w 3199"/>
                <a:gd name="connsiteY1" fmla="*/ 32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36 w 3199"/>
                <a:gd name="connsiteY5" fmla="*/ 136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001 w 3199"/>
                <a:gd name="connsiteY0" fmla="*/ 413 h 1886"/>
                <a:gd name="connsiteX1" fmla="*/ 2968 w 3199"/>
                <a:gd name="connsiteY1" fmla="*/ 325 h 1886"/>
                <a:gd name="connsiteX2" fmla="*/ 769 w 3199"/>
                <a:gd name="connsiteY2" fmla="*/ 1886 h 1886"/>
                <a:gd name="connsiteX3" fmla="*/ 0 w 3199"/>
                <a:gd name="connsiteY3" fmla="*/ 1886 h 1886"/>
                <a:gd name="connsiteX4" fmla="*/ 0 w 3199"/>
                <a:gd name="connsiteY4" fmla="*/ 1603 h 1886"/>
                <a:gd name="connsiteX5" fmla="*/ 2836 w 3199"/>
                <a:gd name="connsiteY5" fmla="*/ 136 h 1886"/>
                <a:gd name="connsiteX6" fmla="*/ 2757 w 3199"/>
                <a:gd name="connsiteY6" fmla="*/ 0 h 1886"/>
                <a:gd name="connsiteX7" fmla="*/ 3199 w 3199"/>
                <a:gd name="connsiteY7" fmla="*/ 15 h 1886"/>
                <a:gd name="connsiteX0" fmla="*/ 3001 w 3199"/>
                <a:gd name="connsiteY0" fmla="*/ 413 h 1886"/>
                <a:gd name="connsiteX1" fmla="*/ 2968 w 3199"/>
                <a:gd name="connsiteY1" fmla="*/ 325 h 1886"/>
                <a:gd name="connsiteX2" fmla="*/ 1828 w 3199"/>
                <a:gd name="connsiteY2" fmla="*/ 1517 h 1886"/>
                <a:gd name="connsiteX3" fmla="*/ 769 w 3199"/>
                <a:gd name="connsiteY3" fmla="*/ 1886 h 1886"/>
                <a:gd name="connsiteX4" fmla="*/ 0 w 3199"/>
                <a:gd name="connsiteY4" fmla="*/ 1886 h 1886"/>
                <a:gd name="connsiteX5" fmla="*/ 0 w 3199"/>
                <a:gd name="connsiteY5" fmla="*/ 1603 h 1886"/>
                <a:gd name="connsiteX6" fmla="*/ 2836 w 3199"/>
                <a:gd name="connsiteY6" fmla="*/ 136 h 1886"/>
                <a:gd name="connsiteX7" fmla="*/ 2757 w 3199"/>
                <a:gd name="connsiteY7" fmla="*/ 0 h 1886"/>
                <a:gd name="connsiteX8" fmla="*/ 3199 w 3199"/>
                <a:gd name="connsiteY8" fmla="*/ 15 h 1886"/>
                <a:gd name="connsiteX0" fmla="*/ 3292 w 3292"/>
                <a:gd name="connsiteY0" fmla="*/ 1101 h 1886"/>
                <a:gd name="connsiteX1" fmla="*/ 2968 w 3292"/>
                <a:gd name="connsiteY1" fmla="*/ 325 h 1886"/>
                <a:gd name="connsiteX2" fmla="*/ 1828 w 3292"/>
                <a:gd name="connsiteY2" fmla="*/ 1517 h 1886"/>
                <a:gd name="connsiteX3" fmla="*/ 769 w 3292"/>
                <a:gd name="connsiteY3" fmla="*/ 1886 h 1886"/>
                <a:gd name="connsiteX4" fmla="*/ 0 w 3292"/>
                <a:gd name="connsiteY4" fmla="*/ 1886 h 1886"/>
                <a:gd name="connsiteX5" fmla="*/ 0 w 3292"/>
                <a:gd name="connsiteY5" fmla="*/ 1603 h 1886"/>
                <a:gd name="connsiteX6" fmla="*/ 2836 w 3292"/>
                <a:gd name="connsiteY6" fmla="*/ 136 h 1886"/>
                <a:gd name="connsiteX7" fmla="*/ 2757 w 3292"/>
                <a:gd name="connsiteY7" fmla="*/ 0 h 1886"/>
                <a:gd name="connsiteX8" fmla="*/ 3199 w 3292"/>
                <a:gd name="connsiteY8" fmla="*/ 15 h 1886"/>
                <a:gd name="connsiteX0" fmla="*/ 3292 w 3590"/>
                <a:gd name="connsiteY0" fmla="*/ 1101 h 1886"/>
                <a:gd name="connsiteX1" fmla="*/ 2968 w 3590"/>
                <a:gd name="connsiteY1" fmla="*/ 325 h 1886"/>
                <a:gd name="connsiteX2" fmla="*/ 1828 w 3590"/>
                <a:gd name="connsiteY2" fmla="*/ 1517 h 1886"/>
                <a:gd name="connsiteX3" fmla="*/ 769 w 3590"/>
                <a:gd name="connsiteY3" fmla="*/ 1886 h 1886"/>
                <a:gd name="connsiteX4" fmla="*/ 0 w 3590"/>
                <a:gd name="connsiteY4" fmla="*/ 1886 h 1886"/>
                <a:gd name="connsiteX5" fmla="*/ 0 w 3590"/>
                <a:gd name="connsiteY5" fmla="*/ 1603 h 1886"/>
                <a:gd name="connsiteX6" fmla="*/ 2836 w 3590"/>
                <a:gd name="connsiteY6" fmla="*/ 136 h 1886"/>
                <a:gd name="connsiteX7" fmla="*/ 2757 w 3590"/>
                <a:gd name="connsiteY7" fmla="*/ 0 h 1886"/>
                <a:gd name="connsiteX8" fmla="*/ 3590 w 3590"/>
                <a:gd name="connsiteY8" fmla="*/ 428 h 1886"/>
                <a:gd name="connsiteX0" fmla="*/ 3292 w 3590"/>
                <a:gd name="connsiteY0" fmla="*/ 1101 h 1886"/>
                <a:gd name="connsiteX1" fmla="*/ 3192 w 3590"/>
                <a:gd name="connsiteY1" fmla="*/ 774 h 1886"/>
                <a:gd name="connsiteX2" fmla="*/ 1828 w 3590"/>
                <a:gd name="connsiteY2" fmla="*/ 1517 h 1886"/>
                <a:gd name="connsiteX3" fmla="*/ 769 w 3590"/>
                <a:gd name="connsiteY3" fmla="*/ 1886 h 1886"/>
                <a:gd name="connsiteX4" fmla="*/ 0 w 3590"/>
                <a:gd name="connsiteY4" fmla="*/ 1886 h 1886"/>
                <a:gd name="connsiteX5" fmla="*/ 0 w 3590"/>
                <a:gd name="connsiteY5" fmla="*/ 1603 h 1886"/>
                <a:gd name="connsiteX6" fmla="*/ 2836 w 3590"/>
                <a:gd name="connsiteY6" fmla="*/ 136 h 1886"/>
                <a:gd name="connsiteX7" fmla="*/ 2757 w 3590"/>
                <a:gd name="connsiteY7" fmla="*/ 0 h 1886"/>
                <a:gd name="connsiteX8" fmla="*/ 3590 w 3590"/>
                <a:gd name="connsiteY8" fmla="*/ 428 h 1886"/>
                <a:gd name="connsiteX0" fmla="*/ 3292 w 3590"/>
                <a:gd name="connsiteY0" fmla="*/ 1101 h 1886"/>
                <a:gd name="connsiteX1" fmla="*/ 3192 w 3590"/>
                <a:gd name="connsiteY1" fmla="*/ 774 h 1886"/>
                <a:gd name="connsiteX2" fmla="*/ 1828 w 3590"/>
                <a:gd name="connsiteY2" fmla="*/ 1517 h 1886"/>
                <a:gd name="connsiteX3" fmla="*/ 769 w 3590"/>
                <a:gd name="connsiteY3" fmla="*/ 1886 h 1886"/>
                <a:gd name="connsiteX4" fmla="*/ 0 w 3590"/>
                <a:gd name="connsiteY4" fmla="*/ 1886 h 1886"/>
                <a:gd name="connsiteX5" fmla="*/ 0 w 3590"/>
                <a:gd name="connsiteY5" fmla="*/ 1603 h 1886"/>
                <a:gd name="connsiteX6" fmla="*/ 2836 w 3590"/>
                <a:gd name="connsiteY6" fmla="*/ 136 h 1886"/>
                <a:gd name="connsiteX7" fmla="*/ 2933 w 3590"/>
                <a:gd name="connsiteY7" fmla="*/ 368 h 1886"/>
                <a:gd name="connsiteX8" fmla="*/ 2757 w 3590"/>
                <a:gd name="connsiteY8" fmla="*/ 0 h 1886"/>
                <a:gd name="connsiteX9" fmla="*/ 3590 w 3590"/>
                <a:gd name="connsiteY9" fmla="*/ 428 h 1886"/>
                <a:gd name="connsiteX0" fmla="*/ 3292 w 3590"/>
                <a:gd name="connsiteY0" fmla="*/ 1101 h 1886"/>
                <a:gd name="connsiteX1" fmla="*/ 3192 w 3590"/>
                <a:gd name="connsiteY1" fmla="*/ 774 h 1886"/>
                <a:gd name="connsiteX2" fmla="*/ 1828 w 3590"/>
                <a:gd name="connsiteY2" fmla="*/ 1517 h 1886"/>
                <a:gd name="connsiteX3" fmla="*/ 769 w 3590"/>
                <a:gd name="connsiteY3" fmla="*/ 1886 h 1886"/>
                <a:gd name="connsiteX4" fmla="*/ 0 w 3590"/>
                <a:gd name="connsiteY4" fmla="*/ 1886 h 1886"/>
                <a:gd name="connsiteX5" fmla="*/ 0 w 3590"/>
                <a:gd name="connsiteY5" fmla="*/ 1603 h 1886"/>
                <a:gd name="connsiteX6" fmla="*/ 1980 w 3590"/>
                <a:gd name="connsiteY6" fmla="*/ 990 h 1886"/>
                <a:gd name="connsiteX7" fmla="*/ 2836 w 3590"/>
                <a:gd name="connsiteY7" fmla="*/ 136 h 1886"/>
                <a:gd name="connsiteX8" fmla="*/ 2933 w 3590"/>
                <a:gd name="connsiteY8" fmla="*/ 368 h 1886"/>
                <a:gd name="connsiteX9" fmla="*/ 2757 w 3590"/>
                <a:gd name="connsiteY9" fmla="*/ 0 h 1886"/>
                <a:gd name="connsiteX10" fmla="*/ 3590 w 3590"/>
                <a:gd name="connsiteY10" fmla="*/ 428 h 1886"/>
                <a:gd name="connsiteX0" fmla="*/ 3292 w 3590"/>
                <a:gd name="connsiteY0" fmla="*/ 1101 h 1886"/>
                <a:gd name="connsiteX1" fmla="*/ 3192 w 3590"/>
                <a:gd name="connsiteY1" fmla="*/ 774 h 1886"/>
                <a:gd name="connsiteX2" fmla="*/ 1828 w 3590"/>
                <a:gd name="connsiteY2" fmla="*/ 1517 h 1886"/>
                <a:gd name="connsiteX3" fmla="*/ 769 w 3590"/>
                <a:gd name="connsiteY3" fmla="*/ 1886 h 1886"/>
                <a:gd name="connsiteX4" fmla="*/ 0 w 3590"/>
                <a:gd name="connsiteY4" fmla="*/ 1886 h 1886"/>
                <a:gd name="connsiteX5" fmla="*/ 0 w 3590"/>
                <a:gd name="connsiteY5" fmla="*/ 1603 h 1886"/>
                <a:gd name="connsiteX6" fmla="*/ 1980 w 3590"/>
                <a:gd name="connsiteY6" fmla="*/ 990 h 1886"/>
                <a:gd name="connsiteX7" fmla="*/ 2933 w 3590"/>
                <a:gd name="connsiteY7" fmla="*/ 368 h 1886"/>
                <a:gd name="connsiteX8" fmla="*/ 2757 w 3590"/>
                <a:gd name="connsiteY8" fmla="*/ 0 h 1886"/>
                <a:gd name="connsiteX9" fmla="*/ 3590 w 3590"/>
                <a:gd name="connsiteY9" fmla="*/ 428 h 1886"/>
                <a:gd name="connsiteX0" fmla="*/ 3292 w 3590"/>
                <a:gd name="connsiteY0" fmla="*/ 892 h 1677"/>
                <a:gd name="connsiteX1" fmla="*/ 3192 w 3590"/>
                <a:gd name="connsiteY1" fmla="*/ 565 h 1677"/>
                <a:gd name="connsiteX2" fmla="*/ 1828 w 3590"/>
                <a:gd name="connsiteY2" fmla="*/ 1308 h 1677"/>
                <a:gd name="connsiteX3" fmla="*/ 769 w 3590"/>
                <a:gd name="connsiteY3" fmla="*/ 1677 h 1677"/>
                <a:gd name="connsiteX4" fmla="*/ 0 w 3590"/>
                <a:gd name="connsiteY4" fmla="*/ 1677 h 1677"/>
                <a:gd name="connsiteX5" fmla="*/ 0 w 3590"/>
                <a:gd name="connsiteY5" fmla="*/ 1394 h 1677"/>
                <a:gd name="connsiteX6" fmla="*/ 1980 w 3590"/>
                <a:gd name="connsiteY6" fmla="*/ 781 h 1677"/>
                <a:gd name="connsiteX7" fmla="*/ 2933 w 3590"/>
                <a:gd name="connsiteY7" fmla="*/ 159 h 1677"/>
                <a:gd name="connsiteX8" fmla="*/ 2876 w 3590"/>
                <a:gd name="connsiteY8" fmla="*/ 0 h 1677"/>
                <a:gd name="connsiteX9" fmla="*/ 3590 w 3590"/>
                <a:gd name="connsiteY9" fmla="*/ 219 h 1677"/>
                <a:gd name="connsiteX0" fmla="*/ 3292 w 3590"/>
                <a:gd name="connsiteY0" fmla="*/ 892 h 1677"/>
                <a:gd name="connsiteX1" fmla="*/ 3192 w 3590"/>
                <a:gd name="connsiteY1" fmla="*/ 565 h 1677"/>
                <a:gd name="connsiteX2" fmla="*/ 1828 w 3590"/>
                <a:gd name="connsiteY2" fmla="*/ 1308 h 1677"/>
                <a:gd name="connsiteX3" fmla="*/ 769 w 3590"/>
                <a:gd name="connsiteY3" fmla="*/ 1677 h 1677"/>
                <a:gd name="connsiteX4" fmla="*/ 0 w 3590"/>
                <a:gd name="connsiteY4" fmla="*/ 1677 h 1677"/>
                <a:gd name="connsiteX5" fmla="*/ 0 w 3590"/>
                <a:gd name="connsiteY5" fmla="*/ 1394 h 1677"/>
                <a:gd name="connsiteX6" fmla="*/ 1980 w 3590"/>
                <a:gd name="connsiteY6" fmla="*/ 781 h 1677"/>
                <a:gd name="connsiteX7" fmla="*/ 3052 w 3590"/>
                <a:gd name="connsiteY7" fmla="*/ 261 h 1677"/>
                <a:gd name="connsiteX8" fmla="*/ 2876 w 3590"/>
                <a:gd name="connsiteY8" fmla="*/ 0 h 1677"/>
                <a:gd name="connsiteX9" fmla="*/ 3590 w 3590"/>
                <a:gd name="connsiteY9" fmla="*/ 219 h 1677"/>
                <a:gd name="connsiteX0" fmla="*/ 3292 w 3590"/>
                <a:gd name="connsiteY0" fmla="*/ 754 h 1539"/>
                <a:gd name="connsiteX1" fmla="*/ 3192 w 3590"/>
                <a:gd name="connsiteY1" fmla="*/ 427 h 1539"/>
                <a:gd name="connsiteX2" fmla="*/ 1828 w 3590"/>
                <a:gd name="connsiteY2" fmla="*/ 1170 h 1539"/>
                <a:gd name="connsiteX3" fmla="*/ 769 w 3590"/>
                <a:gd name="connsiteY3" fmla="*/ 1539 h 1539"/>
                <a:gd name="connsiteX4" fmla="*/ 0 w 3590"/>
                <a:gd name="connsiteY4" fmla="*/ 1539 h 1539"/>
                <a:gd name="connsiteX5" fmla="*/ 0 w 3590"/>
                <a:gd name="connsiteY5" fmla="*/ 1256 h 1539"/>
                <a:gd name="connsiteX6" fmla="*/ 1980 w 3590"/>
                <a:gd name="connsiteY6" fmla="*/ 643 h 1539"/>
                <a:gd name="connsiteX7" fmla="*/ 3052 w 3590"/>
                <a:gd name="connsiteY7" fmla="*/ 123 h 1539"/>
                <a:gd name="connsiteX8" fmla="*/ 2981 w 3590"/>
                <a:gd name="connsiteY8" fmla="*/ 0 h 1539"/>
                <a:gd name="connsiteX9" fmla="*/ 3590 w 3590"/>
                <a:gd name="connsiteY9" fmla="*/ 81 h 1539"/>
                <a:gd name="connsiteX0" fmla="*/ 3292 w 3590"/>
                <a:gd name="connsiteY0" fmla="*/ 754 h 1539"/>
                <a:gd name="connsiteX1" fmla="*/ 3286 w 3590"/>
                <a:gd name="connsiteY1" fmla="*/ 590 h 1539"/>
                <a:gd name="connsiteX2" fmla="*/ 3192 w 3590"/>
                <a:gd name="connsiteY2" fmla="*/ 427 h 1539"/>
                <a:gd name="connsiteX3" fmla="*/ 1828 w 3590"/>
                <a:gd name="connsiteY3" fmla="*/ 1170 h 1539"/>
                <a:gd name="connsiteX4" fmla="*/ 769 w 3590"/>
                <a:gd name="connsiteY4" fmla="*/ 1539 h 1539"/>
                <a:gd name="connsiteX5" fmla="*/ 0 w 3590"/>
                <a:gd name="connsiteY5" fmla="*/ 1539 h 1539"/>
                <a:gd name="connsiteX6" fmla="*/ 0 w 3590"/>
                <a:gd name="connsiteY6" fmla="*/ 1256 h 1539"/>
                <a:gd name="connsiteX7" fmla="*/ 1980 w 3590"/>
                <a:gd name="connsiteY7" fmla="*/ 643 h 1539"/>
                <a:gd name="connsiteX8" fmla="*/ 3052 w 3590"/>
                <a:gd name="connsiteY8" fmla="*/ 123 h 1539"/>
                <a:gd name="connsiteX9" fmla="*/ 2981 w 3590"/>
                <a:gd name="connsiteY9" fmla="*/ 0 h 1539"/>
                <a:gd name="connsiteX10" fmla="*/ 3590 w 3590"/>
                <a:gd name="connsiteY10" fmla="*/ 81 h 1539"/>
                <a:gd name="connsiteX0" fmla="*/ 3292 w 3590"/>
                <a:gd name="connsiteY0" fmla="*/ 754 h 1539"/>
                <a:gd name="connsiteX1" fmla="*/ 3286 w 3590"/>
                <a:gd name="connsiteY1" fmla="*/ 590 h 1539"/>
                <a:gd name="connsiteX2" fmla="*/ 3192 w 3590"/>
                <a:gd name="connsiteY2" fmla="*/ 427 h 1539"/>
                <a:gd name="connsiteX3" fmla="*/ 1828 w 3590"/>
                <a:gd name="connsiteY3" fmla="*/ 1170 h 1539"/>
                <a:gd name="connsiteX4" fmla="*/ 769 w 3590"/>
                <a:gd name="connsiteY4" fmla="*/ 1539 h 1539"/>
                <a:gd name="connsiteX5" fmla="*/ 0 w 3590"/>
                <a:gd name="connsiteY5" fmla="*/ 1539 h 1539"/>
                <a:gd name="connsiteX6" fmla="*/ 0 w 3590"/>
                <a:gd name="connsiteY6" fmla="*/ 1256 h 1539"/>
                <a:gd name="connsiteX7" fmla="*/ 1980 w 3590"/>
                <a:gd name="connsiteY7" fmla="*/ 643 h 1539"/>
                <a:gd name="connsiteX8" fmla="*/ 3052 w 3590"/>
                <a:gd name="connsiteY8" fmla="*/ 123 h 1539"/>
                <a:gd name="connsiteX9" fmla="*/ 2981 w 3590"/>
                <a:gd name="connsiteY9" fmla="*/ 0 h 1539"/>
                <a:gd name="connsiteX10" fmla="*/ 3590 w 3590"/>
                <a:gd name="connsiteY10" fmla="*/ 81 h 1539"/>
                <a:gd name="connsiteX0" fmla="*/ 3286 w 3590"/>
                <a:gd name="connsiteY0" fmla="*/ 590 h 1539"/>
                <a:gd name="connsiteX1" fmla="*/ 3192 w 3590"/>
                <a:gd name="connsiteY1" fmla="*/ 427 h 1539"/>
                <a:gd name="connsiteX2" fmla="*/ 1828 w 3590"/>
                <a:gd name="connsiteY2" fmla="*/ 1170 h 1539"/>
                <a:gd name="connsiteX3" fmla="*/ 769 w 3590"/>
                <a:gd name="connsiteY3" fmla="*/ 1539 h 1539"/>
                <a:gd name="connsiteX4" fmla="*/ 0 w 3590"/>
                <a:gd name="connsiteY4" fmla="*/ 1539 h 1539"/>
                <a:gd name="connsiteX5" fmla="*/ 0 w 3590"/>
                <a:gd name="connsiteY5" fmla="*/ 1256 h 1539"/>
                <a:gd name="connsiteX6" fmla="*/ 1980 w 3590"/>
                <a:gd name="connsiteY6" fmla="*/ 643 h 1539"/>
                <a:gd name="connsiteX7" fmla="*/ 3052 w 3590"/>
                <a:gd name="connsiteY7" fmla="*/ 123 h 1539"/>
                <a:gd name="connsiteX8" fmla="*/ 2981 w 3590"/>
                <a:gd name="connsiteY8" fmla="*/ 0 h 1539"/>
                <a:gd name="connsiteX9" fmla="*/ 3590 w 3590"/>
                <a:gd name="connsiteY9" fmla="*/ 81 h 1539"/>
                <a:gd name="connsiteX0" fmla="*/ 3286 w 3590"/>
                <a:gd name="connsiteY0" fmla="*/ 590 h 1539"/>
                <a:gd name="connsiteX1" fmla="*/ 3192 w 3590"/>
                <a:gd name="connsiteY1" fmla="*/ 427 h 1539"/>
                <a:gd name="connsiteX2" fmla="*/ 1828 w 3590"/>
                <a:gd name="connsiteY2" fmla="*/ 1170 h 1539"/>
                <a:gd name="connsiteX3" fmla="*/ 769 w 3590"/>
                <a:gd name="connsiteY3" fmla="*/ 1539 h 1539"/>
                <a:gd name="connsiteX4" fmla="*/ 0 w 3590"/>
                <a:gd name="connsiteY4" fmla="*/ 1539 h 1539"/>
                <a:gd name="connsiteX5" fmla="*/ 0 w 3590"/>
                <a:gd name="connsiteY5" fmla="*/ 1256 h 1539"/>
                <a:gd name="connsiteX6" fmla="*/ 1980 w 3590"/>
                <a:gd name="connsiteY6" fmla="*/ 643 h 1539"/>
                <a:gd name="connsiteX7" fmla="*/ 3052 w 3590"/>
                <a:gd name="connsiteY7" fmla="*/ 123 h 1539"/>
                <a:gd name="connsiteX8" fmla="*/ 2981 w 3590"/>
                <a:gd name="connsiteY8" fmla="*/ 0 h 1539"/>
                <a:gd name="connsiteX9" fmla="*/ 3590 w 3590"/>
                <a:gd name="connsiteY9" fmla="*/ 81 h 1539"/>
                <a:gd name="connsiteX0" fmla="*/ 3286 w 3590"/>
                <a:gd name="connsiteY0" fmla="*/ 590 h 1539"/>
                <a:gd name="connsiteX1" fmla="*/ 3192 w 3590"/>
                <a:gd name="connsiteY1" fmla="*/ 427 h 1539"/>
                <a:gd name="connsiteX2" fmla="*/ 1828 w 3590"/>
                <a:gd name="connsiteY2" fmla="*/ 1170 h 1539"/>
                <a:gd name="connsiteX3" fmla="*/ 769 w 3590"/>
                <a:gd name="connsiteY3" fmla="*/ 1539 h 1539"/>
                <a:gd name="connsiteX4" fmla="*/ 0 w 3590"/>
                <a:gd name="connsiteY4" fmla="*/ 1539 h 1539"/>
                <a:gd name="connsiteX5" fmla="*/ 0 w 3590"/>
                <a:gd name="connsiteY5" fmla="*/ 1256 h 1539"/>
                <a:gd name="connsiteX6" fmla="*/ 1980 w 3590"/>
                <a:gd name="connsiteY6" fmla="*/ 643 h 1539"/>
                <a:gd name="connsiteX7" fmla="*/ 3052 w 3590"/>
                <a:gd name="connsiteY7" fmla="*/ 123 h 1539"/>
                <a:gd name="connsiteX8" fmla="*/ 2981 w 3590"/>
                <a:gd name="connsiteY8" fmla="*/ 0 h 1539"/>
                <a:gd name="connsiteX9" fmla="*/ 3590 w 3590"/>
                <a:gd name="connsiteY9" fmla="*/ 81 h 1539"/>
                <a:gd name="connsiteX0" fmla="*/ 3286 w 3471"/>
                <a:gd name="connsiteY0" fmla="*/ 590 h 1539"/>
                <a:gd name="connsiteX1" fmla="*/ 3192 w 3471"/>
                <a:gd name="connsiteY1" fmla="*/ 427 h 1539"/>
                <a:gd name="connsiteX2" fmla="*/ 1828 w 3471"/>
                <a:gd name="connsiteY2" fmla="*/ 1170 h 1539"/>
                <a:gd name="connsiteX3" fmla="*/ 769 w 3471"/>
                <a:gd name="connsiteY3" fmla="*/ 1539 h 1539"/>
                <a:gd name="connsiteX4" fmla="*/ 0 w 3471"/>
                <a:gd name="connsiteY4" fmla="*/ 1539 h 1539"/>
                <a:gd name="connsiteX5" fmla="*/ 0 w 3471"/>
                <a:gd name="connsiteY5" fmla="*/ 1256 h 1539"/>
                <a:gd name="connsiteX6" fmla="*/ 1980 w 3471"/>
                <a:gd name="connsiteY6" fmla="*/ 643 h 1539"/>
                <a:gd name="connsiteX7" fmla="*/ 3052 w 3471"/>
                <a:gd name="connsiteY7" fmla="*/ 123 h 1539"/>
                <a:gd name="connsiteX8" fmla="*/ 2981 w 3471"/>
                <a:gd name="connsiteY8" fmla="*/ 0 h 1539"/>
                <a:gd name="connsiteX9" fmla="*/ 3471 w 3471"/>
                <a:gd name="connsiteY9" fmla="*/ 81 h 1539"/>
                <a:gd name="connsiteX0" fmla="*/ 3286 w 3471"/>
                <a:gd name="connsiteY0" fmla="*/ 590 h 1539"/>
                <a:gd name="connsiteX1" fmla="*/ 3192 w 3471"/>
                <a:gd name="connsiteY1" fmla="*/ 427 h 1539"/>
                <a:gd name="connsiteX2" fmla="*/ 1828 w 3471"/>
                <a:gd name="connsiteY2" fmla="*/ 1170 h 1539"/>
                <a:gd name="connsiteX3" fmla="*/ 769 w 3471"/>
                <a:gd name="connsiteY3" fmla="*/ 1539 h 1539"/>
                <a:gd name="connsiteX4" fmla="*/ 0 w 3471"/>
                <a:gd name="connsiteY4" fmla="*/ 1539 h 1539"/>
                <a:gd name="connsiteX5" fmla="*/ 0 w 3471"/>
                <a:gd name="connsiteY5" fmla="*/ 1256 h 1539"/>
                <a:gd name="connsiteX6" fmla="*/ 1980 w 3471"/>
                <a:gd name="connsiteY6" fmla="*/ 643 h 1539"/>
                <a:gd name="connsiteX7" fmla="*/ 3052 w 3471"/>
                <a:gd name="connsiteY7" fmla="*/ 123 h 1539"/>
                <a:gd name="connsiteX8" fmla="*/ 2981 w 3471"/>
                <a:gd name="connsiteY8" fmla="*/ 0 h 1539"/>
                <a:gd name="connsiteX9" fmla="*/ 3471 w 3471"/>
                <a:gd name="connsiteY9" fmla="*/ 81 h 1539"/>
                <a:gd name="connsiteX10" fmla="*/ 3286 w 3471"/>
                <a:gd name="connsiteY10" fmla="*/ 590 h 1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1" h="1539">
                  <a:moveTo>
                    <a:pt x="3286" y="590"/>
                  </a:moveTo>
                  <a:lnTo>
                    <a:pt x="3192" y="427"/>
                  </a:lnTo>
                  <a:cubicBezTo>
                    <a:pt x="2965" y="575"/>
                    <a:pt x="2232" y="985"/>
                    <a:pt x="1828" y="1170"/>
                  </a:cubicBezTo>
                  <a:cubicBezTo>
                    <a:pt x="1424" y="1355"/>
                    <a:pt x="1042" y="1442"/>
                    <a:pt x="769" y="1539"/>
                  </a:cubicBezTo>
                  <a:lnTo>
                    <a:pt x="0" y="1539"/>
                  </a:lnTo>
                  <a:lnTo>
                    <a:pt x="0" y="1256"/>
                  </a:lnTo>
                  <a:cubicBezTo>
                    <a:pt x="386" y="1170"/>
                    <a:pt x="1471" y="832"/>
                    <a:pt x="1980" y="643"/>
                  </a:cubicBezTo>
                  <a:cubicBezTo>
                    <a:pt x="2489" y="454"/>
                    <a:pt x="2885" y="240"/>
                    <a:pt x="3052" y="123"/>
                  </a:cubicBezTo>
                  <a:cubicBezTo>
                    <a:pt x="3028" y="82"/>
                    <a:pt x="3005" y="41"/>
                    <a:pt x="2981" y="0"/>
                  </a:cubicBezTo>
                  <a:lnTo>
                    <a:pt x="3471" y="81"/>
                  </a:lnTo>
                  <a:lnTo>
                    <a:pt x="3286" y="590"/>
                  </a:lnTo>
                  <a:close/>
                </a:path>
              </a:pathLst>
            </a:custGeom>
            <a:gradFill>
              <a:gsLst>
                <a:gs pos="0">
                  <a:schemeClr val="accent6">
                    <a:lumMod val="75000"/>
                  </a:schemeClr>
                </a:gs>
                <a:gs pos="50000">
                  <a:schemeClr val="accent6">
                    <a:lumMod val="90000"/>
                  </a:schemeClr>
                </a:gs>
                <a:gs pos="100000">
                  <a:schemeClr val="accent6"/>
                </a:gs>
              </a:gsLst>
              <a:lin ang="5400000" scaled="1"/>
            </a:gradFill>
            <a:ln w="508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bevelB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endParaRPr lang="it-IT" sz="1200">
                <a:solidFill>
                  <a:srgbClr val="FF3300"/>
                </a:solidFill>
              </a:endParaRPr>
            </a:p>
          </p:txBody>
        </p:sp>
        <p:sp>
          <p:nvSpPr>
            <p:cNvPr id="288" name="Rectangle 287"/>
            <p:cNvSpPr/>
            <p:nvPr/>
          </p:nvSpPr>
          <p:spPr>
            <a:xfrm>
              <a:off x="5075672" y="4582603"/>
              <a:ext cx="57900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None/>
              </a:pPr>
              <a:r>
                <a:rPr lang="it-IT" sz="800" dirty="0" smtClean="0">
                  <a:solidFill>
                    <a:schemeClr val="bg1"/>
                  </a:solidFill>
                  <a:latin typeface="+mn-lt"/>
                </a:rPr>
                <a:t>Services</a:t>
              </a:r>
            </a:p>
          </p:txBody>
        </p:sp>
      </p:grpSp>
      <p:grpSp>
        <p:nvGrpSpPr>
          <p:cNvPr id="7" name="Group 385"/>
          <p:cNvGrpSpPr/>
          <p:nvPr/>
        </p:nvGrpSpPr>
        <p:grpSpPr>
          <a:xfrm>
            <a:off x="4298392" y="1256382"/>
            <a:ext cx="4395814" cy="1811769"/>
            <a:chOff x="562513" y="3810814"/>
            <a:chExt cx="4395814" cy="1811769"/>
          </a:xfrm>
        </p:grpSpPr>
        <p:sp>
          <p:nvSpPr>
            <p:cNvPr id="252" name="Freeform 17"/>
            <p:cNvSpPr>
              <a:spLocks noChangeAspect="1"/>
            </p:cNvSpPr>
            <p:nvPr/>
          </p:nvSpPr>
          <p:spPr bwMode="auto">
            <a:xfrm>
              <a:off x="562513" y="3810814"/>
              <a:ext cx="4395814" cy="1811769"/>
            </a:xfrm>
            <a:custGeom>
              <a:avLst/>
              <a:gdLst>
                <a:gd name="connsiteX0" fmla="*/ 0 w 4134"/>
                <a:gd name="connsiteY0" fmla="*/ 1790 h 2296"/>
                <a:gd name="connsiteX1" fmla="*/ 2894 w 4134"/>
                <a:gd name="connsiteY1" fmla="*/ 31 h 2296"/>
                <a:gd name="connsiteX2" fmla="*/ 4134 w 4134"/>
                <a:gd name="connsiteY2" fmla="*/ 0 h 2296"/>
                <a:gd name="connsiteX3" fmla="*/ 947 w 4134"/>
                <a:gd name="connsiteY3" fmla="*/ 2296 h 2296"/>
                <a:gd name="connsiteX4" fmla="*/ 0 w 4134"/>
                <a:gd name="connsiteY4" fmla="*/ 2296 h 2296"/>
                <a:gd name="connsiteX5" fmla="*/ 0 w 4134"/>
                <a:gd name="connsiteY5" fmla="*/ 1754 h 2296"/>
                <a:gd name="connsiteX6" fmla="*/ 0 w 4134"/>
                <a:gd name="connsiteY6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894 w 4134"/>
                <a:gd name="connsiteY2" fmla="*/ 31 h 2296"/>
                <a:gd name="connsiteX3" fmla="*/ 4134 w 4134"/>
                <a:gd name="connsiteY3" fmla="*/ 0 h 2296"/>
                <a:gd name="connsiteX4" fmla="*/ 947 w 4134"/>
                <a:gd name="connsiteY4" fmla="*/ 2296 h 2296"/>
                <a:gd name="connsiteX5" fmla="*/ 0 w 4134"/>
                <a:gd name="connsiteY5" fmla="*/ 2296 h 2296"/>
                <a:gd name="connsiteX6" fmla="*/ 0 w 4134"/>
                <a:gd name="connsiteY6" fmla="*/ 1754 h 2296"/>
                <a:gd name="connsiteX7" fmla="*/ 0 w 4134"/>
                <a:gd name="connsiteY7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947 w 4134"/>
                <a:gd name="connsiteY4" fmla="*/ 2296 h 2296"/>
                <a:gd name="connsiteX5" fmla="*/ 0 w 4134"/>
                <a:gd name="connsiteY5" fmla="*/ 2296 h 2296"/>
                <a:gd name="connsiteX6" fmla="*/ 0 w 4134"/>
                <a:gd name="connsiteY6" fmla="*/ 1754 h 2296"/>
                <a:gd name="connsiteX7" fmla="*/ 0 w 4134"/>
                <a:gd name="connsiteY7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455 w 4134"/>
                <a:gd name="connsiteY4" fmla="*/ 925 h 2296"/>
                <a:gd name="connsiteX5" fmla="*/ 947 w 4134"/>
                <a:gd name="connsiteY5" fmla="*/ 2296 h 2296"/>
                <a:gd name="connsiteX6" fmla="*/ 0 w 4134"/>
                <a:gd name="connsiteY6" fmla="*/ 2296 h 2296"/>
                <a:gd name="connsiteX7" fmla="*/ 0 w 4134"/>
                <a:gd name="connsiteY7" fmla="*/ 1754 h 2296"/>
                <a:gd name="connsiteX8" fmla="*/ 0 w 4134"/>
                <a:gd name="connsiteY8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455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3143 w 4134"/>
                <a:gd name="connsiteY6" fmla="*/ 760 h 2296"/>
                <a:gd name="connsiteX7" fmla="*/ 947 w 4134"/>
                <a:gd name="connsiteY7" fmla="*/ 2296 h 2296"/>
                <a:gd name="connsiteX8" fmla="*/ 0 w 4134"/>
                <a:gd name="connsiteY8" fmla="*/ 2296 h 2296"/>
                <a:gd name="connsiteX9" fmla="*/ 0 w 4134"/>
                <a:gd name="connsiteY9" fmla="*/ 1754 h 2296"/>
                <a:gd name="connsiteX10" fmla="*/ 0 w 4134"/>
                <a:gd name="connsiteY10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056 w 4134"/>
                <a:gd name="connsiteY5" fmla="*/ 76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146 w 4134"/>
                <a:gd name="connsiteY5" fmla="*/ 670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320 w 4134"/>
                <a:gd name="connsiteY4" fmla="*/ 925 h 2296"/>
                <a:gd name="connsiteX5" fmla="*/ 3101 w 4134"/>
                <a:gd name="connsiteY5" fmla="*/ 715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4134"/>
                <a:gd name="connsiteY0" fmla="*/ 1790 h 2296"/>
                <a:gd name="connsiteX1" fmla="*/ 2864 w 4134"/>
                <a:gd name="connsiteY1" fmla="*/ 505 h 2296"/>
                <a:gd name="connsiteX2" fmla="*/ 2669 w 4134"/>
                <a:gd name="connsiteY2" fmla="*/ 346 h 2296"/>
                <a:gd name="connsiteX3" fmla="*/ 4134 w 4134"/>
                <a:gd name="connsiteY3" fmla="*/ 0 h 2296"/>
                <a:gd name="connsiteX4" fmla="*/ 3230 w 4134"/>
                <a:gd name="connsiteY4" fmla="*/ 970 h 2296"/>
                <a:gd name="connsiteX5" fmla="*/ 3101 w 4134"/>
                <a:gd name="connsiteY5" fmla="*/ 715 h 2296"/>
                <a:gd name="connsiteX6" fmla="*/ 947 w 4134"/>
                <a:gd name="connsiteY6" fmla="*/ 2296 h 2296"/>
                <a:gd name="connsiteX7" fmla="*/ 0 w 4134"/>
                <a:gd name="connsiteY7" fmla="*/ 2296 h 2296"/>
                <a:gd name="connsiteX8" fmla="*/ 0 w 4134"/>
                <a:gd name="connsiteY8" fmla="*/ 1754 h 2296"/>
                <a:gd name="connsiteX9" fmla="*/ 0 w 4134"/>
                <a:gd name="connsiteY9" fmla="*/ 1790 h 2296"/>
                <a:gd name="connsiteX0" fmla="*/ 0 w 3729"/>
                <a:gd name="connsiteY0" fmla="*/ 1610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574 h 2116"/>
                <a:gd name="connsiteX9" fmla="*/ 0 w 3729"/>
                <a:gd name="connsiteY9" fmla="*/ 1610 h 2116"/>
                <a:gd name="connsiteX0" fmla="*/ 0 w 3729"/>
                <a:gd name="connsiteY0" fmla="*/ 1610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610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707 w 3729"/>
                <a:gd name="connsiteY7" fmla="*/ 2110 h 2116"/>
                <a:gd name="connsiteX8" fmla="*/ 0 w 3729"/>
                <a:gd name="connsiteY8" fmla="*/ 2116 h 2116"/>
                <a:gd name="connsiteX9" fmla="*/ 0 w 3729"/>
                <a:gd name="connsiteY9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947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833 h 2116"/>
                <a:gd name="connsiteX0" fmla="*/ 0 w 3729"/>
                <a:gd name="connsiteY0" fmla="*/ 1833 h 2116"/>
                <a:gd name="connsiteX1" fmla="*/ 2864 w 3729"/>
                <a:gd name="connsiteY1" fmla="*/ 325 h 2116"/>
                <a:gd name="connsiteX2" fmla="*/ 2669 w 3729"/>
                <a:gd name="connsiteY2" fmla="*/ 166 h 2116"/>
                <a:gd name="connsiteX3" fmla="*/ 3729 w 3729"/>
                <a:gd name="connsiteY3" fmla="*/ 0 h 2116"/>
                <a:gd name="connsiteX4" fmla="*/ 3230 w 3729"/>
                <a:gd name="connsiteY4" fmla="*/ 790 h 2116"/>
                <a:gd name="connsiteX5" fmla="*/ 3101 w 3729"/>
                <a:gd name="connsiteY5" fmla="*/ 535 h 2116"/>
                <a:gd name="connsiteX6" fmla="*/ 769 w 3729"/>
                <a:gd name="connsiteY6" fmla="*/ 2116 h 2116"/>
                <a:gd name="connsiteX7" fmla="*/ 0 w 3729"/>
                <a:gd name="connsiteY7" fmla="*/ 2116 h 2116"/>
                <a:gd name="connsiteX8" fmla="*/ 0 w 3729"/>
                <a:gd name="connsiteY8" fmla="*/ 1833 h 2116"/>
                <a:gd name="connsiteX0" fmla="*/ 1 w 3730"/>
                <a:gd name="connsiteY0" fmla="*/ 1833 h 2116"/>
                <a:gd name="connsiteX1" fmla="*/ 2865 w 3730"/>
                <a:gd name="connsiteY1" fmla="*/ 325 h 2116"/>
                <a:gd name="connsiteX2" fmla="*/ 2670 w 3730"/>
                <a:gd name="connsiteY2" fmla="*/ 166 h 2116"/>
                <a:gd name="connsiteX3" fmla="*/ 3730 w 3730"/>
                <a:gd name="connsiteY3" fmla="*/ 0 h 2116"/>
                <a:gd name="connsiteX4" fmla="*/ 3231 w 3730"/>
                <a:gd name="connsiteY4" fmla="*/ 790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833 h 2116"/>
                <a:gd name="connsiteX0" fmla="*/ 1 w 3730"/>
                <a:gd name="connsiteY0" fmla="*/ 1833 h 2116"/>
                <a:gd name="connsiteX1" fmla="*/ 2865 w 3730"/>
                <a:gd name="connsiteY1" fmla="*/ 325 h 2116"/>
                <a:gd name="connsiteX2" fmla="*/ 2670 w 3730"/>
                <a:gd name="connsiteY2" fmla="*/ 166 h 2116"/>
                <a:gd name="connsiteX3" fmla="*/ 3730 w 3730"/>
                <a:gd name="connsiteY3" fmla="*/ 0 h 2116"/>
                <a:gd name="connsiteX4" fmla="*/ 3231 w 3730"/>
                <a:gd name="connsiteY4" fmla="*/ 790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833 h 2116"/>
                <a:gd name="connsiteX0" fmla="*/ 1 w 3730"/>
                <a:gd name="connsiteY0" fmla="*/ 1833 h 2116"/>
                <a:gd name="connsiteX1" fmla="*/ 2865 w 3730"/>
                <a:gd name="connsiteY1" fmla="*/ 325 h 2116"/>
                <a:gd name="connsiteX2" fmla="*/ 2670 w 3730"/>
                <a:gd name="connsiteY2" fmla="*/ 166 h 2116"/>
                <a:gd name="connsiteX3" fmla="*/ 3730 w 3730"/>
                <a:gd name="connsiteY3" fmla="*/ 0 h 2116"/>
                <a:gd name="connsiteX4" fmla="*/ 3231 w 3730"/>
                <a:gd name="connsiteY4" fmla="*/ 790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833 h 2116"/>
                <a:gd name="connsiteX0" fmla="*/ 1 w 3730"/>
                <a:gd name="connsiteY0" fmla="*/ 1684 h 2116"/>
                <a:gd name="connsiteX1" fmla="*/ 2865 w 3730"/>
                <a:gd name="connsiteY1" fmla="*/ 325 h 2116"/>
                <a:gd name="connsiteX2" fmla="*/ 2670 w 3730"/>
                <a:gd name="connsiteY2" fmla="*/ 166 h 2116"/>
                <a:gd name="connsiteX3" fmla="*/ 3730 w 3730"/>
                <a:gd name="connsiteY3" fmla="*/ 0 h 2116"/>
                <a:gd name="connsiteX4" fmla="*/ 3231 w 3730"/>
                <a:gd name="connsiteY4" fmla="*/ 790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684 h 2116"/>
                <a:gd name="connsiteX0" fmla="*/ 1 w 3730"/>
                <a:gd name="connsiteY0" fmla="*/ 1461 h 2116"/>
                <a:gd name="connsiteX1" fmla="*/ 2865 w 3730"/>
                <a:gd name="connsiteY1" fmla="*/ 325 h 2116"/>
                <a:gd name="connsiteX2" fmla="*/ 2670 w 3730"/>
                <a:gd name="connsiteY2" fmla="*/ 166 h 2116"/>
                <a:gd name="connsiteX3" fmla="*/ 3730 w 3730"/>
                <a:gd name="connsiteY3" fmla="*/ 0 h 2116"/>
                <a:gd name="connsiteX4" fmla="*/ 3231 w 3730"/>
                <a:gd name="connsiteY4" fmla="*/ 790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461 h 2116"/>
                <a:gd name="connsiteX0" fmla="*/ 1 w 3730"/>
                <a:gd name="connsiteY0" fmla="*/ 1461 h 2116"/>
                <a:gd name="connsiteX1" fmla="*/ 2865 w 3730"/>
                <a:gd name="connsiteY1" fmla="*/ 325 h 2116"/>
                <a:gd name="connsiteX2" fmla="*/ 2808 w 3730"/>
                <a:gd name="connsiteY2" fmla="*/ 240 h 2116"/>
                <a:gd name="connsiteX3" fmla="*/ 3730 w 3730"/>
                <a:gd name="connsiteY3" fmla="*/ 0 h 2116"/>
                <a:gd name="connsiteX4" fmla="*/ 3231 w 3730"/>
                <a:gd name="connsiteY4" fmla="*/ 790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461 h 2116"/>
                <a:gd name="connsiteX0" fmla="*/ 1 w 3730"/>
                <a:gd name="connsiteY0" fmla="*/ 1461 h 2116"/>
                <a:gd name="connsiteX1" fmla="*/ 2865 w 3730"/>
                <a:gd name="connsiteY1" fmla="*/ 325 h 2116"/>
                <a:gd name="connsiteX2" fmla="*/ 2808 w 3730"/>
                <a:gd name="connsiteY2" fmla="*/ 240 h 2116"/>
                <a:gd name="connsiteX3" fmla="*/ 3730 w 3730"/>
                <a:gd name="connsiteY3" fmla="*/ 0 h 2116"/>
                <a:gd name="connsiteX4" fmla="*/ 3093 w 3730"/>
                <a:gd name="connsiteY4" fmla="*/ 641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461 h 2116"/>
                <a:gd name="connsiteX0" fmla="*/ 1 w 3730"/>
                <a:gd name="connsiteY0" fmla="*/ 1461 h 2116"/>
                <a:gd name="connsiteX1" fmla="*/ 2865 w 3730"/>
                <a:gd name="connsiteY1" fmla="*/ 325 h 2116"/>
                <a:gd name="connsiteX2" fmla="*/ 2808 w 3730"/>
                <a:gd name="connsiteY2" fmla="*/ 240 h 2116"/>
                <a:gd name="connsiteX3" fmla="*/ 3730 w 3730"/>
                <a:gd name="connsiteY3" fmla="*/ 0 h 2116"/>
                <a:gd name="connsiteX4" fmla="*/ 3093 w 3730"/>
                <a:gd name="connsiteY4" fmla="*/ 641 h 2116"/>
                <a:gd name="connsiteX5" fmla="*/ 3102 w 3730"/>
                <a:gd name="connsiteY5" fmla="*/ 535 h 2116"/>
                <a:gd name="connsiteX6" fmla="*/ 0 w 3730"/>
                <a:gd name="connsiteY6" fmla="*/ 2116 h 2116"/>
                <a:gd name="connsiteX7" fmla="*/ 1 w 3730"/>
                <a:gd name="connsiteY7" fmla="*/ 2116 h 2116"/>
                <a:gd name="connsiteX8" fmla="*/ 1 w 3730"/>
                <a:gd name="connsiteY8" fmla="*/ 1461 h 2116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93 w 3316"/>
                <a:gd name="connsiteY4" fmla="*/ 418 h 1893"/>
                <a:gd name="connsiteX5" fmla="*/ 3102 w 3316"/>
                <a:gd name="connsiteY5" fmla="*/ 312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93 w 3316"/>
                <a:gd name="connsiteY4" fmla="*/ 418 h 1893"/>
                <a:gd name="connsiteX5" fmla="*/ 3033 w 3316"/>
                <a:gd name="connsiteY5" fmla="*/ 312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93 w 3316"/>
                <a:gd name="connsiteY4" fmla="*/ 418 h 1893"/>
                <a:gd name="connsiteX5" fmla="*/ 3033 w 3316"/>
                <a:gd name="connsiteY5" fmla="*/ 312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93 w 3316"/>
                <a:gd name="connsiteY4" fmla="*/ 418 h 1893"/>
                <a:gd name="connsiteX5" fmla="*/ 3033 w 3316"/>
                <a:gd name="connsiteY5" fmla="*/ 312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93 w 3316"/>
                <a:gd name="connsiteY4" fmla="*/ 418 h 1893"/>
                <a:gd name="connsiteX5" fmla="*/ 3033 w 3316"/>
                <a:gd name="connsiteY5" fmla="*/ 312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93 w 3316"/>
                <a:gd name="connsiteY4" fmla="*/ 418 h 1893"/>
                <a:gd name="connsiteX5" fmla="*/ 0 w 3316"/>
                <a:gd name="connsiteY5" fmla="*/ 1893 h 1893"/>
                <a:gd name="connsiteX6" fmla="*/ 1 w 3316"/>
                <a:gd name="connsiteY6" fmla="*/ 1893 h 1893"/>
                <a:gd name="connsiteX7" fmla="*/ 1 w 3316"/>
                <a:gd name="connsiteY7" fmla="*/ 1238 h 1893"/>
                <a:gd name="connsiteX0" fmla="*/ 1 w 3557"/>
                <a:gd name="connsiteY0" fmla="*/ 1238 h 1893"/>
                <a:gd name="connsiteX1" fmla="*/ 2865 w 3557"/>
                <a:gd name="connsiteY1" fmla="*/ 102 h 1893"/>
                <a:gd name="connsiteX2" fmla="*/ 2808 w 3557"/>
                <a:gd name="connsiteY2" fmla="*/ 17 h 1893"/>
                <a:gd name="connsiteX3" fmla="*/ 3316 w 3557"/>
                <a:gd name="connsiteY3" fmla="*/ 0 h 1893"/>
                <a:gd name="connsiteX4" fmla="*/ 3093 w 3557"/>
                <a:gd name="connsiteY4" fmla="*/ 418 h 1893"/>
                <a:gd name="connsiteX5" fmla="*/ 3041 w 3557"/>
                <a:gd name="connsiteY5" fmla="*/ 445 h 1893"/>
                <a:gd name="connsiteX6" fmla="*/ 0 w 3557"/>
                <a:gd name="connsiteY6" fmla="*/ 1893 h 1893"/>
                <a:gd name="connsiteX7" fmla="*/ 1 w 3557"/>
                <a:gd name="connsiteY7" fmla="*/ 1893 h 1893"/>
                <a:gd name="connsiteX8" fmla="*/ 1 w 3557"/>
                <a:gd name="connsiteY8" fmla="*/ 1238 h 1893"/>
                <a:gd name="connsiteX0" fmla="*/ 1 w 3557"/>
                <a:gd name="connsiteY0" fmla="*/ 1238 h 1893"/>
                <a:gd name="connsiteX1" fmla="*/ 2865 w 3557"/>
                <a:gd name="connsiteY1" fmla="*/ 102 h 1893"/>
                <a:gd name="connsiteX2" fmla="*/ 2808 w 3557"/>
                <a:gd name="connsiteY2" fmla="*/ 17 h 1893"/>
                <a:gd name="connsiteX3" fmla="*/ 3316 w 3557"/>
                <a:gd name="connsiteY3" fmla="*/ 0 h 1893"/>
                <a:gd name="connsiteX4" fmla="*/ 3093 w 3557"/>
                <a:gd name="connsiteY4" fmla="*/ 418 h 1893"/>
                <a:gd name="connsiteX5" fmla="*/ 3041 w 3557"/>
                <a:gd name="connsiteY5" fmla="*/ 445 h 1893"/>
                <a:gd name="connsiteX6" fmla="*/ 3041 w 3557"/>
                <a:gd name="connsiteY6" fmla="*/ 285 h 1893"/>
                <a:gd name="connsiteX7" fmla="*/ 0 w 3557"/>
                <a:gd name="connsiteY7" fmla="*/ 1893 h 1893"/>
                <a:gd name="connsiteX8" fmla="*/ 1 w 3557"/>
                <a:gd name="connsiteY8" fmla="*/ 1893 h 1893"/>
                <a:gd name="connsiteX9" fmla="*/ 1 w 3557"/>
                <a:gd name="connsiteY9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41 w 3316"/>
                <a:gd name="connsiteY4" fmla="*/ 445 h 1893"/>
                <a:gd name="connsiteX5" fmla="*/ 3041 w 3316"/>
                <a:gd name="connsiteY5" fmla="*/ 285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41 w 3316"/>
                <a:gd name="connsiteY4" fmla="*/ 445 h 1893"/>
                <a:gd name="connsiteX5" fmla="*/ 3003 w 3316"/>
                <a:gd name="connsiteY5" fmla="*/ 285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41 w 3316"/>
                <a:gd name="connsiteY4" fmla="*/ 392 h 1893"/>
                <a:gd name="connsiteX5" fmla="*/ 3003 w 3316"/>
                <a:gd name="connsiteY5" fmla="*/ 285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41 w 3316"/>
                <a:gd name="connsiteY4" fmla="*/ 392 h 1893"/>
                <a:gd name="connsiteX5" fmla="*/ 3003 w 3316"/>
                <a:gd name="connsiteY5" fmla="*/ 285 h 1893"/>
                <a:gd name="connsiteX6" fmla="*/ 0 w 3316"/>
                <a:gd name="connsiteY6" fmla="*/ 1893 h 1893"/>
                <a:gd name="connsiteX7" fmla="*/ 1 w 3316"/>
                <a:gd name="connsiteY7" fmla="*/ 1893 h 1893"/>
                <a:gd name="connsiteX8" fmla="*/ 1 w 3316"/>
                <a:gd name="connsiteY8" fmla="*/ 1238 h 1893"/>
                <a:gd name="connsiteX0" fmla="*/ 1 w 3316"/>
                <a:gd name="connsiteY0" fmla="*/ 1238 h 1893"/>
                <a:gd name="connsiteX1" fmla="*/ 2865 w 3316"/>
                <a:gd name="connsiteY1" fmla="*/ 102 h 1893"/>
                <a:gd name="connsiteX2" fmla="*/ 2808 w 3316"/>
                <a:gd name="connsiteY2" fmla="*/ 17 h 1893"/>
                <a:gd name="connsiteX3" fmla="*/ 3316 w 3316"/>
                <a:gd name="connsiteY3" fmla="*/ 0 h 1893"/>
                <a:gd name="connsiteX4" fmla="*/ 3041 w 3316"/>
                <a:gd name="connsiteY4" fmla="*/ 392 h 1893"/>
                <a:gd name="connsiteX5" fmla="*/ 3003 w 3316"/>
                <a:gd name="connsiteY5" fmla="*/ 285 h 1893"/>
                <a:gd name="connsiteX6" fmla="*/ 1961 w 3316"/>
                <a:gd name="connsiteY6" fmla="*/ 1138 h 1893"/>
                <a:gd name="connsiteX7" fmla="*/ 0 w 3316"/>
                <a:gd name="connsiteY7" fmla="*/ 1893 h 1893"/>
                <a:gd name="connsiteX8" fmla="*/ 1 w 3316"/>
                <a:gd name="connsiteY8" fmla="*/ 1893 h 1893"/>
                <a:gd name="connsiteX9" fmla="*/ 1 w 3316"/>
                <a:gd name="connsiteY9" fmla="*/ 1238 h 1893"/>
                <a:gd name="connsiteX0" fmla="*/ 1 w 3733"/>
                <a:gd name="connsiteY0" fmla="*/ 1221 h 1876"/>
                <a:gd name="connsiteX1" fmla="*/ 2865 w 3733"/>
                <a:gd name="connsiteY1" fmla="*/ 85 h 1876"/>
                <a:gd name="connsiteX2" fmla="*/ 2808 w 3733"/>
                <a:gd name="connsiteY2" fmla="*/ 0 h 1876"/>
                <a:gd name="connsiteX3" fmla="*/ 3733 w 3733"/>
                <a:gd name="connsiteY3" fmla="*/ 222 h 1876"/>
                <a:gd name="connsiteX4" fmla="*/ 3041 w 3733"/>
                <a:gd name="connsiteY4" fmla="*/ 375 h 1876"/>
                <a:gd name="connsiteX5" fmla="*/ 3003 w 3733"/>
                <a:gd name="connsiteY5" fmla="*/ 268 h 1876"/>
                <a:gd name="connsiteX6" fmla="*/ 1961 w 3733"/>
                <a:gd name="connsiteY6" fmla="*/ 1121 h 1876"/>
                <a:gd name="connsiteX7" fmla="*/ 0 w 3733"/>
                <a:gd name="connsiteY7" fmla="*/ 1876 h 1876"/>
                <a:gd name="connsiteX8" fmla="*/ 1 w 3733"/>
                <a:gd name="connsiteY8" fmla="*/ 1876 h 1876"/>
                <a:gd name="connsiteX9" fmla="*/ 1 w 3733"/>
                <a:gd name="connsiteY9" fmla="*/ 1221 h 1876"/>
                <a:gd name="connsiteX0" fmla="*/ 1 w 3733"/>
                <a:gd name="connsiteY0" fmla="*/ 1221 h 1876"/>
                <a:gd name="connsiteX1" fmla="*/ 2865 w 3733"/>
                <a:gd name="connsiteY1" fmla="*/ 85 h 1876"/>
                <a:gd name="connsiteX2" fmla="*/ 2808 w 3733"/>
                <a:gd name="connsiteY2" fmla="*/ 0 h 1876"/>
                <a:gd name="connsiteX3" fmla="*/ 3733 w 3733"/>
                <a:gd name="connsiteY3" fmla="*/ 222 h 1876"/>
                <a:gd name="connsiteX4" fmla="*/ 3313 w 3733"/>
                <a:gd name="connsiteY4" fmla="*/ 686 h 1876"/>
                <a:gd name="connsiteX5" fmla="*/ 3003 w 3733"/>
                <a:gd name="connsiteY5" fmla="*/ 268 h 1876"/>
                <a:gd name="connsiteX6" fmla="*/ 1961 w 3733"/>
                <a:gd name="connsiteY6" fmla="*/ 1121 h 1876"/>
                <a:gd name="connsiteX7" fmla="*/ 0 w 3733"/>
                <a:gd name="connsiteY7" fmla="*/ 1876 h 1876"/>
                <a:gd name="connsiteX8" fmla="*/ 1 w 3733"/>
                <a:gd name="connsiteY8" fmla="*/ 1876 h 1876"/>
                <a:gd name="connsiteX9" fmla="*/ 1 w 3733"/>
                <a:gd name="connsiteY9" fmla="*/ 1221 h 1876"/>
                <a:gd name="connsiteX0" fmla="*/ 1 w 3733"/>
                <a:gd name="connsiteY0" fmla="*/ 1221 h 1876"/>
                <a:gd name="connsiteX1" fmla="*/ 2865 w 3733"/>
                <a:gd name="connsiteY1" fmla="*/ 85 h 1876"/>
                <a:gd name="connsiteX2" fmla="*/ 2808 w 3733"/>
                <a:gd name="connsiteY2" fmla="*/ 0 h 1876"/>
                <a:gd name="connsiteX3" fmla="*/ 3733 w 3733"/>
                <a:gd name="connsiteY3" fmla="*/ 222 h 1876"/>
                <a:gd name="connsiteX4" fmla="*/ 3313 w 3733"/>
                <a:gd name="connsiteY4" fmla="*/ 686 h 1876"/>
                <a:gd name="connsiteX5" fmla="*/ 3192 w 3733"/>
                <a:gd name="connsiteY5" fmla="*/ 489 h 1876"/>
                <a:gd name="connsiteX6" fmla="*/ 1961 w 3733"/>
                <a:gd name="connsiteY6" fmla="*/ 1121 h 1876"/>
                <a:gd name="connsiteX7" fmla="*/ 0 w 3733"/>
                <a:gd name="connsiteY7" fmla="*/ 1876 h 1876"/>
                <a:gd name="connsiteX8" fmla="*/ 1 w 3733"/>
                <a:gd name="connsiteY8" fmla="*/ 1876 h 1876"/>
                <a:gd name="connsiteX9" fmla="*/ 1 w 3733"/>
                <a:gd name="connsiteY9" fmla="*/ 1221 h 1876"/>
                <a:gd name="connsiteX0" fmla="*/ 1 w 3733"/>
                <a:gd name="connsiteY0" fmla="*/ 1221 h 1876"/>
                <a:gd name="connsiteX1" fmla="*/ 3098 w 3733"/>
                <a:gd name="connsiteY1" fmla="*/ 235 h 1876"/>
                <a:gd name="connsiteX2" fmla="*/ 2808 w 3733"/>
                <a:gd name="connsiteY2" fmla="*/ 0 h 1876"/>
                <a:gd name="connsiteX3" fmla="*/ 3733 w 3733"/>
                <a:gd name="connsiteY3" fmla="*/ 222 h 1876"/>
                <a:gd name="connsiteX4" fmla="*/ 3313 w 3733"/>
                <a:gd name="connsiteY4" fmla="*/ 686 h 1876"/>
                <a:gd name="connsiteX5" fmla="*/ 3192 w 3733"/>
                <a:gd name="connsiteY5" fmla="*/ 489 h 1876"/>
                <a:gd name="connsiteX6" fmla="*/ 1961 w 3733"/>
                <a:gd name="connsiteY6" fmla="*/ 1121 h 1876"/>
                <a:gd name="connsiteX7" fmla="*/ 0 w 3733"/>
                <a:gd name="connsiteY7" fmla="*/ 1876 h 1876"/>
                <a:gd name="connsiteX8" fmla="*/ 1 w 3733"/>
                <a:gd name="connsiteY8" fmla="*/ 1876 h 1876"/>
                <a:gd name="connsiteX9" fmla="*/ 1 w 3733"/>
                <a:gd name="connsiteY9" fmla="*/ 1221 h 1876"/>
                <a:gd name="connsiteX0" fmla="*/ 1 w 3733"/>
                <a:gd name="connsiteY0" fmla="*/ 1221 h 1876"/>
                <a:gd name="connsiteX1" fmla="*/ 3098 w 3733"/>
                <a:gd name="connsiteY1" fmla="*/ 235 h 1876"/>
                <a:gd name="connsiteX2" fmla="*/ 2808 w 3733"/>
                <a:gd name="connsiteY2" fmla="*/ 0 h 1876"/>
                <a:gd name="connsiteX3" fmla="*/ 2979 w 3733"/>
                <a:gd name="connsiteY3" fmla="*/ 110 h 1876"/>
                <a:gd name="connsiteX4" fmla="*/ 3733 w 3733"/>
                <a:gd name="connsiteY4" fmla="*/ 222 h 1876"/>
                <a:gd name="connsiteX5" fmla="*/ 3313 w 3733"/>
                <a:gd name="connsiteY5" fmla="*/ 686 h 1876"/>
                <a:gd name="connsiteX6" fmla="*/ 3192 w 3733"/>
                <a:gd name="connsiteY6" fmla="*/ 489 h 1876"/>
                <a:gd name="connsiteX7" fmla="*/ 1961 w 3733"/>
                <a:gd name="connsiteY7" fmla="*/ 1121 h 1876"/>
                <a:gd name="connsiteX8" fmla="*/ 0 w 3733"/>
                <a:gd name="connsiteY8" fmla="*/ 1876 h 1876"/>
                <a:gd name="connsiteX9" fmla="*/ 1 w 3733"/>
                <a:gd name="connsiteY9" fmla="*/ 1876 h 1876"/>
                <a:gd name="connsiteX10" fmla="*/ 1 w 3733"/>
                <a:gd name="connsiteY10" fmla="*/ 1221 h 1876"/>
                <a:gd name="connsiteX0" fmla="*/ 1 w 3733"/>
                <a:gd name="connsiteY0" fmla="*/ 1221 h 1876"/>
                <a:gd name="connsiteX1" fmla="*/ 1733 w 3733"/>
                <a:gd name="connsiteY1" fmla="*/ 768 h 1876"/>
                <a:gd name="connsiteX2" fmla="*/ 3098 w 3733"/>
                <a:gd name="connsiteY2" fmla="*/ 235 h 1876"/>
                <a:gd name="connsiteX3" fmla="*/ 2808 w 3733"/>
                <a:gd name="connsiteY3" fmla="*/ 0 h 1876"/>
                <a:gd name="connsiteX4" fmla="*/ 2979 w 3733"/>
                <a:gd name="connsiteY4" fmla="*/ 110 h 1876"/>
                <a:gd name="connsiteX5" fmla="*/ 3733 w 3733"/>
                <a:gd name="connsiteY5" fmla="*/ 222 h 1876"/>
                <a:gd name="connsiteX6" fmla="*/ 3313 w 3733"/>
                <a:gd name="connsiteY6" fmla="*/ 686 h 1876"/>
                <a:gd name="connsiteX7" fmla="*/ 3192 w 3733"/>
                <a:gd name="connsiteY7" fmla="*/ 489 h 1876"/>
                <a:gd name="connsiteX8" fmla="*/ 1961 w 3733"/>
                <a:gd name="connsiteY8" fmla="*/ 1121 h 1876"/>
                <a:gd name="connsiteX9" fmla="*/ 0 w 3733"/>
                <a:gd name="connsiteY9" fmla="*/ 1876 h 1876"/>
                <a:gd name="connsiteX10" fmla="*/ 1 w 3733"/>
                <a:gd name="connsiteY10" fmla="*/ 1876 h 1876"/>
                <a:gd name="connsiteX11" fmla="*/ 1 w 3733"/>
                <a:gd name="connsiteY11" fmla="*/ 1221 h 1876"/>
                <a:gd name="connsiteX0" fmla="*/ 1 w 3733"/>
                <a:gd name="connsiteY0" fmla="*/ 1221 h 1876"/>
                <a:gd name="connsiteX1" fmla="*/ 1733 w 3733"/>
                <a:gd name="connsiteY1" fmla="*/ 768 h 1876"/>
                <a:gd name="connsiteX2" fmla="*/ 3098 w 3733"/>
                <a:gd name="connsiteY2" fmla="*/ 235 h 1876"/>
                <a:gd name="connsiteX3" fmla="*/ 2808 w 3733"/>
                <a:gd name="connsiteY3" fmla="*/ 0 h 1876"/>
                <a:gd name="connsiteX4" fmla="*/ 2979 w 3733"/>
                <a:gd name="connsiteY4" fmla="*/ 110 h 1876"/>
                <a:gd name="connsiteX5" fmla="*/ 3733 w 3733"/>
                <a:gd name="connsiteY5" fmla="*/ 222 h 1876"/>
                <a:gd name="connsiteX6" fmla="*/ 3313 w 3733"/>
                <a:gd name="connsiteY6" fmla="*/ 686 h 1876"/>
                <a:gd name="connsiteX7" fmla="*/ 3192 w 3733"/>
                <a:gd name="connsiteY7" fmla="*/ 489 h 1876"/>
                <a:gd name="connsiteX8" fmla="*/ 1961 w 3733"/>
                <a:gd name="connsiteY8" fmla="*/ 1121 h 1876"/>
                <a:gd name="connsiteX9" fmla="*/ 0 w 3733"/>
                <a:gd name="connsiteY9" fmla="*/ 1876 h 1876"/>
                <a:gd name="connsiteX10" fmla="*/ 1 w 3733"/>
                <a:gd name="connsiteY10" fmla="*/ 1876 h 1876"/>
                <a:gd name="connsiteX11" fmla="*/ 1 w 3733"/>
                <a:gd name="connsiteY11" fmla="*/ 1221 h 1876"/>
                <a:gd name="connsiteX0" fmla="*/ 1 w 3733"/>
                <a:gd name="connsiteY0" fmla="*/ 1221 h 1876"/>
                <a:gd name="connsiteX1" fmla="*/ 1733 w 3733"/>
                <a:gd name="connsiteY1" fmla="*/ 768 h 1876"/>
                <a:gd name="connsiteX2" fmla="*/ 3098 w 3733"/>
                <a:gd name="connsiteY2" fmla="*/ 235 h 1876"/>
                <a:gd name="connsiteX3" fmla="*/ 2808 w 3733"/>
                <a:gd name="connsiteY3" fmla="*/ 0 h 1876"/>
                <a:gd name="connsiteX4" fmla="*/ 2979 w 3733"/>
                <a:gd name="connsiteY4" fmla="*/ 110 h 1876"/>
                <a:gd name="connsiteX5" fmla="*/ 3733 w 3733"/>
                <a:gd name="connsiteY5" fmla="*/ 222 h 1876"/>
                <a:gd name="connsiteX6" fmla="*/ 3313 w 3733"/>
                <a:gd name="connsiteY6" fmla="*/ 686 h 1876"/>
                <a:gd name="connsiteX7" fmla="*/ 3192 w 3733"/>
                <a:gd name="connsiteY7" fmla="*/ 489 h 1876"/>
                <a:gd name="connsiteX8" fmla="*/ 1961 w 3733"/>
                <a:gd name="connsiteY8" fmla="*/ 1121 h 1876"/>
                <a:gd name="connsiteX9" fmla="*/ 0 w 3733"/>
                <a:gd name="connsiteY9" fmla="*/ 1876 h 1876"/>
                <a:gd name="connsiteX10" fmla="*/ 1 w 3733"/>
                <a:gd name="connsiteY10" fmla="*/ 1876 h 1876"/>
                <a:gd name="connsiteX11" fmla="*/ 1 w 3733"/>
                <a:gd name="connsiteY11" fmla="*/ 1221 h 1876"/>
                <a:gd name="connsiteX0" fmla="*/ 1 w 3733"/>
                <a:gd name="connsiteY0" fmla="*/ 1221 h 1876"/>
                <a:gd name="connsiteX1" fmla="*/ 1733 w 3733"/>
                <a:gd name="connsiteY1" fmla="*/ 768 h 1876"/>
                <a:gd name="connsiteX2" fmla="*/ 3098 w 3733"/>
                <a:gd name="connsiteY2" fmla="*/ 235 h 1876"/>
                <a:gd name="connsiteX3" fmla="*/ 2808 w 3733"/>
                <a:gd name="connsiteY3" fmla="*/ 0 h 1876"/>
                <a:gd name="connsiteX4" fmla="*/ 2979 w 3733"/>
                <a:gd name="connsiteY4" fmla="*/ 110 h 1876"/>
                <a:gd name="connsiteX5" fmla="*/ 3733 w 3733"/>
                <a:gd name="connsiteY5" fmla="*/ 222 h 1876"/>
                <a:gd name="connsiteX6" fmla="*/ 3313 w 3733"/>
                <a:gd name="connsiteY6" fmla="*/ 686 h 1876"/>
                <a:gd name="connsiteX7" fmla="*/ 3192 w 3733"/>
                <a:gd name="connsiteY7" fmla="*/ 489 h 1876"/>
                <a:gd name="connsiteX8" fmla="*/ 1961 w 3733"/>
                <a:gd name="connsiteY8" fmla="*/ 1121 h 1876"/>
                <a:gd name="connsiteX9" fmla="*/ 0 w 3733"/>
                <a:gd name="connsiteY9" fmla="*/ 1876 h 1876"/>
                <a:gd name="connsiteX10" fmla="*/ 1 w 3733"/>
                <a:gd name="connsiteY10" fmla="*/ 1876 h 1876"/>
                <a:gd name="connsiteX11" fmla="*/ 1 w 3733"/>
                <a:gd name="connsiteY11" fmla="*/ 1221 h 1876"/>
                <a:gd name="connsiteX0" fmla="*/ 2979 w 3733"/>
                <a:gd name="connsiteY0" fmla="*/ 82 h 1848"/>
                <a:gd name="connsiteX1" fmla="*/ 3733 w 3733"/>
                <a:gd name="connsiteY1" fmla="*/ 194 h 1848"/>
                <a:gd name="connsiteX2" fmla="*/ 3313 w 3733"/>
                <a:gd name="connsiteY2" fmla="*/ 658 h 1848"/>
                <a:gd name="connsiteX3" fmla="*/ 3192 w 3733"/>
                <a:gd name="connsiteY3" fmla="*/ 461 h 1848"/>
                <a:gd name="connsiteX4" fmla="*/ 1961 w 3733"/>
                <a:gd name="connsiteY4" fmla="*/ 1093 h 1848"/>
                <a:gd name="connsiteX5" fmla="*/ 0 w 3733"/>
                <a:gd name="connsiteY5" fmla="*/ 1848 h 1848"/>
                <a:gd name="connsiteX6" fmla="*/ 1 w 3733"/>
                <a:gd name="connsiteY6" fmla="*/ 1848 h 1848"/>
                <a:gd name="connsiteX7" fmla="*/ 1 w 3733"/>
                <a:gd name="connsiteY7" fmla="*/ 1193 h 1848"/>
                <a:gd name="connsiteX8" fmla="*/ 1733 w 3733"/>
                <a:gd name="connsiteY8" fmla="*/ 740 h 1848"/>
                <a:gd name="connsiteX9" fmla="*/ 3098 w 3733"/>
                <a:gd name="connsiteY9" fmla="*/ 207 h 1848"/>
                <a:gd name="connsiteX10" fmla="*/ 2896 w 3733"/>
                <a:gd name="connsiteY10" fmla="*/ 67 h 1848"/>
                <a:gd name="connsiteX0" fmla="*/ 2979 w 3733"/>
                <a:gd name="connsiteY0" fmla="*/ 0 h 1766"/>
                <a:gd name="connsiteX1" fmla="*/ 3733 w 3733"/>
                <a:gd name="connsiteY1" fmla="*/ 112 h 1766"/>
                <a:gd name="connsiteX2" fmla="*/ 3313 w 3733"/>
                <a:gd name="connsiteY2" fmla="*/ 576 h 1766"/>
                <a:gd name="connsiteX3" fmla="*/ 3192 w 3733"/>
                <a:gd name="connsiteY3" fmla="*/ 379 h 1766"/>
                <a:gd name="connsiteX4" fmla="*/ 1961 w 3733"/>
                <a:gd name="connsiteY4" fmla="*/ 1011 h 1766"/>
                <a:gd name="connsiteX5" fmla="*/ 0 w 3733"/>
                <a:gd name="connsiteY5" fmla="*/ 1766 h 1766"/>
                <a:gd name="connsiteX6" fmla="*/ 1 w 3733"/>
                <a:gd name="connsiteY6" fmla="*/ 1766 h 1766"/>
                <a:gd name="connsiteX7" fmla="*/ 1 w 3733"/>
                <a:gd name="connsiteY7" fmla="*/ 1111 h 1766"/>
                <a:gd name="connsiteX8" fmla="*/ 1733 w 3733"/>
                <a:gd name="connsiteY8" fmla="*/ 658 h 1766"/>
                <a:gd name="connsiteX9" fmla="*/ 3098 w 3733"/>
                <a:gd name="connsiteY9" fmla="*/ 125 h 1766"/>
                <a:gd name="connsiteX0" fmla="*/ 2979 w 3733"/>
                <a:gd name="connsiteY0" fmla="*/ 0 h 1766"/>
                <a:gd name="connsiteX1" fmla="*/ 3733 w 3733"/>
                <a:gd name="connsiteY1" fmla="*/ 112 h 1766"/>
                <a:gd name="connsiteX2" fmla="*/ 3313 w 3733"/>
                <a:gd name="connsiteY2" fmla="*/ 576 h 1766"/>
                <a:gd name="connsiteX3" fmla="*/ 3192 w 3733"/>
                <a:gd name="connsiteY3" fmla="*/ 379 h 1766"/>
                <a:gd name="connsiteX4" fmla="*/ 1961 w 3733"/>
                <a:gd name="connsiteY4" fmla="*/ 1011 h 1766"/>
                <a:gd name="connsiteX5" fmla="*/ 0 w 3733"/>
                <a:gd name="connsiteY5" fmla="*/ 1766 h 1766"/>
                <a:gd name="connsiteX6" fmla="*/ 1 w 3733"/>
                <a:gd name="connsiteY6" fmla="*/ 1766 h 1766"/>
                <a:gd name="connsiteX7" fmla="*/ 1 w 3733"/>
                <a:gd name="connsiteY7" fmla="*/ 1111 h 1766"/>
                <a:gd name="connsiteX8" fmla="*/ 1733 w 3733"/>
                <a:gd name="connsiteY8" fmla="*/ 658 h 1766"/>
                <a:gd name="connsiteX9" fmla="*/ 3098 w 3733"/>
                <a:gd name="connsiteY9" fmla="*/ 125 h 1766"/>
                <a:gd name="connsiteX0" fmla="*/ 2979 w 3733"/>
                <a:gd name="connsiteY0" fmla="*/ 0 h 1766"/>
                <a:gd name="connsiteX1" fmla="*/ 3733 w 3733"/>
                <a:gd name="connsiteY1" fmla="*/ 112 h 1766"/>
                <a:gd name="connsiteX2" fmla="*/ 3313 w 3733"/>
                <a:gd name="connsiteY2" fmla="*/ 576 h 1766"/>
                <a:gd name="connsiteX3" fmla="*/ 3192 w 3733"/>
                <a:gd name="connsiteY3" fmla="*/ 379 h 1766"/>
                <a:gd name="connsiteX4" fmla="*/ 1961 w 3733"/>
                <a:gd name="connsiteY4" fmla="*/ 1011 h 1766"/>
                <a:gd name="connsiteX5" fmla="*/ 0 w 3733"/>
                <a:gd name="connsiteY5" fmla="*/ 1766 h 1766"/>
                <a:gd name="connsiteX6" fmla="*/ 1 w 3733"/>
                <a:gd name="connsiteY6" fmla="*/ 1766 h 1766"/>
                <a:gd name="connsiteX7" fmla="*/ 1 w 3733"/>
                <a:gd name="connsiteY7" fmla="*/ 1111 h 1766"/>
                <a:gd name="connsiteX8" fmla="*/ 1733 w 3733"/>
                <a:gd name="connsiteY8" fmla="*/ 658 h 1766"/>
                <a:gd name="connsiteX9" fmla="*/ 3098 w 3733"/>
                <a:gd name="connsiteY9" fmla="*/ 125 h 1766"/>
                <a:gd name="connsiteX0" fmla="*/ 2979 w 3733"/>
                <a:gd name="connsiteY0" fmla="*/ 0 h 1766"/>
                <a:gd name="connsiteX1" fmla="*/ 3733 w 3733"/>
                <a:gd name="connsiteY1" fmla="*/ 112 h 1766"/>
                <a:gd name="connsiteX2" fmla="*/ 3313 w 3733"/>
                <a:gd name="connsiteY2" fmla="*/ 576 h 1766"/>
                <a:gd name="connsiteX3" fmla="*/ 3192 w 3733"/>
                <a:gd name="connsiteY3" fmla="*/ 379 h 1766"/>
                <a:gd name="connsiteX4" fmla="*/ 1961 w 3733"/>
                <a:gd name="connsiteY4" fmla="*/ 1011 h 1766"/>
                <a:gd name="connsiteX5" fmla="*/ 0 w 3733"/>
                <a:gd name="connsiteY5" fmla="*/ 1766 h 1766"/>
                <a:gd name="connsiteX6" fmla="*/ 1 w 3733"/>
                <a:gd name="connsiteY6" fmla="*/ 1766 h 1766"/>
                <a:gd name="connsiteX7" fmla="*/ 1 w 3733"/>
                <a:gd name="connsiteY7" fmla="*/ 1111 h 1766"/>
                <a:gd name="connsiteX8" fmla="*/ 1733 w 3733"/>
                <a:gd name="connsiteY8" fmla="*/ 658 h 1766"/>
                <a:gd name="connsiteX9" fmla="*/ 3098 w 3733"/>
                <a:gd name="connsiteY9" fmla="*/ 125 h 1766"/>
                <a:gd name="connsiteX0" fmla="*/ 2979 w 3733"/>
                <a:gd name="connsiteY0" fmla="*/ 0 h 1766"/>
                <a:gd name="connsiteX1" fmla="*/ 3733 w 3733"/>
                <a:gd name="connsiteY1" fmla="*/ 112 h 1766"/>
                <a:gd name="connsiteX2" fmla="*/ 3313 w 3733"/>
                <a:gd name="connsiteY2" fmla="*/ 576 h 1766"/>
                <a:gd name="connsiteX3" fmla="*/ 3259 w 3733"/>
                <a:gd name="connsiteY3" fmla="*/ 379 h 1766"/>
                <a:gd name="connsiteX4" fmla="*/ 1961 w 3733"/>
                <a:gd name="connsiteY4" fmla="*/ 1011 h 1766"/>
                <a:gd name="connsiteX5" fmla="*/ 0 w 3733"/>
                <a:gd name="connsiteY5" fmla="*/ 1766 h 1766"/>
                <a:gd name="connsiteX6" fmla="*/ 1 w 3733"/>
                <a:gd name="connsiteY6" fmla="*/ 1766 h 1766"/>
                <a:gd name="connsiteX7" fmla="*/ 1 w 3733"/>
                <a:gd name="connsiteY7" fmla="*/ 1111 h 1766"/>
                <a:gd name="connsiteX8" fmla="*/ 1733 w 3733"/>
                <a:gd name="connsiteY8" fmla="*/ 658 h 1766"/>
                <a:gd name="connsiteX9" fmla="*/ 3098 w 3733"/>
                <a:gd name="connsiteY9" fmla="*/ 125 h 1766"/>
                <a:gd name="connsiteX0" fmla="*/ 2979 w 3733"/>
                <a:gd name="connsiteY0" fmla="*/ 0 h 1766"/>
                <a:gd name="connsiteX1" fmla="*/ 3733 w 3733"/>
                <a:gd name="connsiteY1" fmla="*/ 112 h 1766"/>
                <a:gd name="connsiteX2" fmla="*/ 3313 w 3733"/>
                <a:gd name="connsiteY2" fmla="*/ 576 h 1766"/>
                <a:gd name="connsiteX3" fmla="*/ 3259 w 3733"/>
                <a:gd name="connsiteY3" fmla="*/ 379 h 1766"/>
                <a:gd name="connsiteX4" fmla="*/ 1961 w 3733"/>
                <a:gd name="connsiteY4" fmla="*/ 1011 h 1766"/>
                <a:gd name="connsiteX5" fmla="*/ 0 w 3733"/>
                <a:gd name="connsiteY5" fmla="*/ 1766 h 1766"/>
                <a:gd name="connsiteX6" fmla="*/ 1 w 3733"/>
                <a:gd name="connsiteY6" fmla="*/ 1766 h 1766"/>
                <a:gd name="connsiteX7" fmla="*/ 1 w 3733"/>
                <a:gd name="connsiteY7" fmla="*/ 1111 h 1766"/>
                <a:gd name="connsiteX8" fmla="*/ 1733 w 3733"/>
                <a:gd name="connsiteY8" fmla="*/ 658 h 1766"/>
                <a:gd name="connsiteX9" fmla="*/ 3170 w 3733"/>
                <a:gd name="connsiteY9" fmla="*/ 197 h 1766"/>
                <a:gd name="connsiteX0" fmla="*/ 2979 w 3733"/>
                <a:gd name="connsiteY0" fmla="*/ 0 h 1766"/>
                <a:gd name="connsiteX1" fmla="*/ 3733 w 3733"/>
                <a:gd name="connsiteY1" fmla="*/ 112 h 1766"/>
                <a:gd name="connsiteX2" fmla="*/ 3313 w 3733"/>
                <a:gd name="connsiteY2" fmla="*/ 576 h 1766"/>
                <a:gd name="connsiteX3" fmla="*/ 3259 w 3733"/>
                <a:gd name="connsiteY3" fmla="*/ 379 h 1766"/>
                <a:gd name="connsiteX4" fmla="*/ 1961 w 3733"/>
                <a:gd name="connsiteY4" fmla="*/ 1011 h 1766"/>
                <a:gd name="connsiteX5" fmla="*/ 0 w 3733"/>
                <a:gd name="connsiteY5" fmla="*/ 1766 h 1766"/>
                <a:gd name="connsiteX6" fmla="*/ 1 w 3733"/>
                <a:gd name="connsiteY6" fmla="*/ 1766 h 1766"/>
                <a:gd name="connsiteX7" fmla="*/ 1 w 3733"/>
                <a:gd name="connsiteY7" fmla="*/ 1111 h 1766"/>
                <a:gd name="connsiteX8" fmla="*/ 1733 w 3733"/>
                <a:gd name="connsiteY8" fmla="*/ 658 h 1766"/>
                <a:gd name="connsiteX9" fmla="*/ 3170 w 3733"/>
                <a:gd name="connsiteY9" fmla="*/ 197 h 1766"/>
                <a:gd name="connsiteX0" fmla="*/ 3079 w 3733"/>
                <a:gd name="connsiteY0" fmla="*/ 0 h 1688"/>
                <a:gd name="connsiteX1" fmla="*/ 3733 w 3733"/>
                <a:gd name="connsiteY1" fmla="*/ 34 h 1688"/>
                <a:gd name="connsiteX2" fmla="*/ 3313 w 3733"/>
                <a:gd name="connsiteY2" fmla="*/ 498 h 1688"/>
                <a:gd name="connsiteX3" fmla="*/ 3259 w 3733"/>
                <a:gd name="connsiteY3" fmla="*/ 301 h 1688"/>
                <a:gd name="connsiteX4" fmla="*/ 1961 w 3733"/>
                <a:gd name="connsiteY4" fmla="*/ 933 h 1688"/>
                <a:gd name="connsiteX5" fmla="*/ 0 w 3733"/>
                <a:gd name="connsiteY5" fmla="*/ 1688 h 1688"/>
                <a:gd name="connsiteX6" fmla="*/ 1 w 3733"/>
                <a:gd name="connsiteY6" fmla="*/ 1688 h 1688"/>
                <a:gd name="connsiteX7" fmla="*/ 1 w 3733"/>
                <a:gd name="connsiteY7" fmla="*/ 1033 h 1688"/>
                <a:gd name="connsiteX8" fmla="*/ 1733 w 3733"/>
                <a:gd name="connsiteY8" fmla="*/ 580 h 1688"/>
                <a:gd name="connsiteX9" fmla="*/ 3170 w 3733"/>
                <a:gd name="connsiteY9" fmla="*/ 119 h 1688"/>
                <a:gd name="connsiteX0" fmla="*/ 3079 w 3733"/>
                <a:gd name="connsiteY0" fmla="*/ 0 h 1688"/>
                <a:gd name="connsiteX1" fmla="*/ 3733 w 3733"/>
                <a:gd name="connsiteY1" fmla="*/ 34 h 1688"/>
                <a:gd name="connsiteX2" fmla="*/ 3313 w 3733"/>
                <a:gd name="connsiteY2" fmla="*/ 498 h 1688"/>
                <a:gd name="connsiteX3" fmla="*/ 3259 w 3733"/>
                <a:gd name="connsiteY3" fmla="*/ 301 h 1688"/>
                <a:gd name="connsiteX4" fmla="*/ 1961 w 3733"/>
                <a:gd name="connsiteY4" fmla="*/ 933 h 1688"/>
                <a:gd name="connsiteX5" fmla="*/ 0 w 3733"/>
                <a:gd name="connsiteY5" fmla="*/ 1688 h 1688"/>
                <a:gd name="connsiteX6" fmla="*/ 1 w 3733"/>
                <a:gd name="connsiteY6" fmla="*/ 1688 h 1688"/>
                <a:gd name="connsiteX7" fmla="*/ 1 w 3733"/>
                <a:gd name="connsiteY7" fmla="*/ 1033 h 1688"/>
                <a:gd name="connsiteX8" fmla="*/ 1733 w 3733"/>
                <a:gd name="connsiteY8" fmla="*/ 580 h 1688"/>
                <a:gd name="connsiteX9" fmla="*/ 3170 w 3733"/>
                <a:gd name="connsiteY9" fmla="*/ 119 h 1688"/>
                <a:gd name="connsiteX0" fmla="*/ 3079 w 3733"/>
                <a:gd name="connsiteY0" fmla="*/ 0 h 1688"/>
                <a:gd name="connsiteX1" fmla="*/ 3733 w 3733"/>
                <a:gd name="connsiteY1" fmla="*/ 34 h 1688"/>
                <a:gd name="connsiteX2" fmla="*/ 3313 w 3733"/>
                <a:gd name="connsiteY2" fmla="*/ 498 h 1688"/>
                <a:gd name="connsiteX3" fmla="*/ 3259 w 3733"/>
                <a:gd name="connsiteY3" fmla="*/ 301 h 1688"/>
                <a:gd name="connsiteX4" fmla="*/ 1961 w 3733"/>
                <a:gd name="connsiteY4" fmla="*/ 933 h 1688"/>
                <a:gd name="connsiteX5" fmla="*/ 0 w 3733"/>
                <a:gd name="connsiteY5" fmla="*/ 1688 h 1688"/>
                <a:gd name="connsiteX6" fmla="*/ 1 w 3733"/>
                <a:gd name="connsiteY6" fmla="*/ 1688 h 1688"/>
                <a:gd name="connsiteX7" fmla="*/ 1 w 3733"/>
                <a:gd name="connsiteY7" fmla="*/ 1033 h 1688"/>
                <a:gd name="connsiteX8" fmla="*/ 1733 w 3733"/>
                <a:gd name="connsiteY8" fmla="*/ 580 h 1688"/>
                <a:gd name="connsiteX9" fmla="*/ 3170 w 3733"/>
                <a:gd name="connsiteY9" fmla="*/ 119 h 1688"/>
                <a:gd name="connsiteX10" fmla="*/ 3079 w 3733"/>
                <a:gd name="connsiteY10" fmla="*/ 0 h 1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33" h="1688">
                  <a:moveTo>
                    <a:pt x="3079" y="0"/>
                  </a:moveTo>
                  <a:lnTo>
                    <a:pt x="3733" y="34"/>
                  </a:lnTo>
                  <a:lnTo>
                    <a:pt x="3313" y="498"/>
                  </a:lnTo>
                  <a:cubicBezTo>
                    <a:pt x="3300" y="445"/>
                    <a:pt x="3272" y="354"/>
                    <a:pt x="3259" y="301"/>
                  </a:cubicBezTo>
                  <a:cubicBezTo>
                    <a:pt x="3045" y="390"/>
                    <a:pt x="2504" y="702"/>
                    <a:pt x="1961" y="933"/>
                  </a:cubicBezTo>
                  <a:cubicBezTo>
                    <a:pt x="1418" y="1164"/>
                    <a:pt x="293" y="1527"/>
                    <a:pt x="0" y="1688"/>
                  </a:cubicBezTo>
                  <a:lnTo>
                    <a:pt x="1" y="1688"/>
                  </a:lnTo>
                  <a:lnTo>
                    <a:pt x="1" y="1033"/>
                  </a:lnTo>
                  <a:cubicBezTo>
                    <a:pt x="340" y="956"/>
                    <a:pt x="1205" y="732"/>
                    <a:pt x="1733" y="580"/>
                  </a:cubicBezTo>
                  <a:cubicBezTo>
                    <a:pt x="2261" y="428"/>
                    <a:pt x="2974" y="211"/>
                    <a:pt x="3170" y="119"/>
                  </a:cubicBezTo>
                  <a:lnTo>
                    <a:pt x="3079" y="0"/>
                  </a:lnTo>
                  <a:close/>
                </a:path>
              </a:pathLst>
            </a:custGeom>
            <a:gradFill>
              <a:gsLst>
                <a:gs pos="0">
                  <a:schemeClr val="accent3">
                    <a:lumMod val="50000"/>
                  </a:schemeClr>
                </a:gs>
                <a:gs pos="50000">
                  <a:schemeClr val="accent3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5400000" scaled="1"/>
            </a:gradFill>
            <a:ln w="508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bevelB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endParaRPr lang="it-IT" sz="1200" smtClean="0">
                <a:solidFill>
                  <a:srgbClr val="FF3300"/>
                </a:solidFill>
              </a:endParaRPr>
            </a:p>
          </p:txBody>
        </p:sp>
        <p:sp>
          <p:nvSpPr>
            <p:cNvPr id="287" name="Rectangle 286"/>
            <p:cNvSpPr/>
            <p:nvPr/>
          </p:nvSpPr>
          <p:spPr>
            <a:xfrm>
              <a:off x="4345507" y="3876411"/>
              <a:ext cx="396262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buNone/>
              </a:pPr>
              <a:r>
                <a:rPr lang="it-IT" sz="800" dirty="0" smtClean="0">
                  <a:solidFill>
                    <a:schemeClr val="bg1"/>
                  </a:solidFill>
                  <a:latin typeface="+mn-lt"/>
                </a:rPr>
                <a:t>CPE</a:t>
              </a:r>
            </a:p>
          </p:txBody>
        </p:sp>
      </p:grpSp>
      <p:grpSp>
        <p:nvGrpSpPr>
          <p:cNvPr id="14" name="Group 569"/>
          <p:cNvGrpSpPr/>
          <p:nvPr/>
        </p:nvGrpSpPr>
        <p:grpSpPr>
          <a:xfrm>
            <a:off x="4174682" y="3467637"/>
            <a:ext cx="5418952" cy="286318"/>
            <a:chOff x="486428" y="6050644"/>
            <a:chExt cx="5418952" cy="286318"/>
          </a:xfrm>
        </p:grpSpPr>
        <p:sp>
          <p:nvSpPr>
            <p:cNvPr id="233" name="Text Box 56"/>
            <p:cNvSpPr txBox="1">
              <a:spLocks noChangeArrowheads="1"/>
            </p:cNvSpPr>
            <p:nvPr/>
          </p:nvSpPr>
          <p:spPr bwMode="auto">
            <a:xfrm>
              <a:off x="486428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0</a:t>
              </a:r>
              <a:endParaRPr lang="en-US" sz="800" dirty="0">
                <a:solidFill>
                  <a:srgbClr val="FF3300"/>
                </a:solidFill>
                <a:latin typeface="+mn-lt"/>
              </a:endParaRPr>
            </a:p>
          </p:txBody>
        </p:sp>
        <p:sp>
          <p:nvSpPr>
            <p:cNvPr id="237" name="Text Box 56"/>
            <p:cNvSpPr txBox="1">
              <a:spLocks noChangeArrowheads="1"/>
            </p:cNvSpPr>
            <p:nvPr/>
          </p:nvSpPr>
          <p:spPr bwMode="auto">
            <a:xfrm>
              <a:off x="1028165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1</a:t>
              </a:r>
            </a:p>
          </p:txBody>
        </p:sp>
        <p:sp>
          <p:nvSpPr>
            <p:cNvPr id="238" name="Text Box 56"/>
            <p:cNvSpPr txBox="1">
              <a:spLocks noChangeArrowheads="1"/>
            </p:cNvSpPr>
            <p:nvPr/>
          </p:nvSpPr>
          <p:spPr bwMode="auto">
            <a:xfrm>
              <a:off x="1569903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2</a:t>
              </a:r>
            </a:p>
          </p:txBody>
        </p:sp>
        <p:sp>
          <p:nvSpPr>
            <p:cNvPr id="239" name="Text Box 56"/>
            <p:cNvSpPr txBox="1">
              <a:spLocks noChangeArrowheads="1"/>
            </p:cNvSpPr>
            <p:nvPr/>
          </p:nvSpPr>
          <p:spPr bwMode="auto">
            <a:xfrm>
              <a:off x="2111641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3</a:t>
              </a:r>
            </a:p>
          </p:txBody>
        </p:sp>
        <p:sp>
          <p:nvSpPr>
            <p:cNvPr id="240" name="Text Box 56"/>
            <p:cNvSpPr txBox="1">
              <a:spLocks noChangeArrowheads="1"/>
            </p:cNvSpPr>
            <p:nvPr/>
          </p:nvSpPr>
          <p:spPr bwMode="auto">
            <a:xfrm>
              <a:off x="2653381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4</a:t>
              </a:r>
            </a:p>
          </p:txBody>
        </p:sp>
        <p:sp>
          <p:nvSpPr>
            <p:cNvPr id="241" name="Text Box 56"/>
            <p:cNvSpPr txBox="1">
              <a:spLocks noChangeArrowheads="1"/>
            </p:cNvSpPr>
            <p:nvPr/>
          </p:nvSpPr>
          <p:spPr bwMode="auto">
            <a:xfrm>
              <a:off x="3195118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5</a:t>
              </a:r>
            </a:p>
          </p:txBody>
        </p:sp>
        <p:sp>
          <p:nvSpPr>
            <p:cNvPr id="242" name="Text Box 56"/>
            <p:cNvSpPr txBox="1">
              <a:spLocks noChangeArrowheads="1"/>
            </p:cNvSpPr>
            <p:nvPr/>
          </p:nvSpPr>
          <p:spPr bwMode="auto">
            <a:xfrm>
              <a:off x="3736856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6</a:t>
              </a:r>
            </a:p>
          </p:txBody>
        </p:sp>
        <p:sp>
          <p:nvSpPr>
            <p:cNvPr id="243" name="Text Box 56"/>
            <p:cNvSpPr txBox="1">
              <a:spLocks noChangeArrowheads="1"/>
            </p:cNvSpPr>
            <p:nvPr/>
          </p:nvSpPr>
          <p:spPr bwMode="auto">
            <a:xfrm>
              <a:off x="4278594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7</a:t>
              </a:r>
            </a:p>
          </p:txBody>
        </p:sp>
        <p:sp>
          <p:nvSpPr>
            <p:cNvPr id="248" name="Text Box 56"/>
            <p:cNvSpPr txBox="1">
              <a:spLocks noChangeArrowheads="1"/>
            </p:cNvSpPr>
            <p:nvPr/>
          </p:nvSpPr>
          <p:spPr bwMode="auto">
            <a:xfrm>
              <a:off x="4820332" y="6051210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8</a:t>
              </a:r>
            </a:p>
          </p:txBody>
        </p:sp>
        <p:sp>
          <p:nvSpPr>
            <p:cNvPr id="339" name="Text Box 56"/>
            <p:cNvSpPr txBox="1">
              <a:spLocks noChangeArrowheads="1"/>
            </p:cNvSpPr>
            <p:nvPr/>
          </p:nvSpPr>
          <p:spPr bwMode="auto">
            <a:xfrm>
              <a:off x="5363642" y="6050644"/>
              <a:ext cx="541738" cy="285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 anchorCtr="0">
              <a:noAutofit/>
            </a:bodyPr>
            <a:lstStyle/>
            <a:p>
              <a:pPr marL="228600" indent="-228600" algn="ctr">
                <a:buNone/>
              </a:pPr>
              <a:r>
                <a:rPr lang="en-US" sz="800" dirty="0" smtClean="0">
                  <a:solidFill>
                    <a:srgbClr val="FF3300"/>
                  </a:solidFill>
                  <a:latin typeface="+mn-lt"/>
                </a:rPr>
                <a:t>2009</a:t>
              </a:r>
            </a:p>
          </p:txBody>
        </p:sp>
      </p:grpSp>
      <p:sp>
        <p:nvSpPr>
          <p:cNvPr id="384" name="Striped Right Arrow 383"/>
          <p:cNvSpPr/>
          <p:nvPr/>
        </p:nvSpPr>
        <p:spPr>
          <a:xfrm>
            <a:off x="466725" y="1188893"/>
            <a:ext cx="3573954" cy="2219325"/>
          </a:xfrm>
          <a:prstGeom prst="stripedRightArrow">
            <a:avLst>
              <a:gd name="adj1" fmla="val 94635"/>
              <a:gd name="adj2" fmla="val 27682"/>
            </a:avLst>
          </a:prstGeom>
          <a:solidFill>
            <a:srgbClr val="FFFFFF">
              <a:shade val="85000"/>
            </a:srgbClr>
          </a:solidFill>
          <a:ln w="53975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bevelB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marL="271463" marR="0" indent="-184150" defTabSz="914400" eaLnBrk="0" latinLnBrk="0" hangingPunct="0">
              <a:lnSpc>
                <a:spcPct val="100000"/>
              </a:lnSpc>
              <a:spcBef>
                <a:spcPct val="20000"/>
              </a:spcBef>
              <a:buClr>
                <a:srgbClr val="CE110F"/>
              </a:buClr>
              <a:buSzPct val="40000"/>
              <a:buFont typeface="Marlett" pitchFamily="2" charset="2"/>
              <a:buChar char="g"/>
              <a:tabLst/>
              <a:defRPr/>
            </a:pPr>
            <a:r>
              <a:rPr lang="it-IT" sz="1200" b="1" spc="150" dirty="0" smtClean="0">
                <a:ln w="11430"/>
                <a:solidFill>
                  <a:srgbClr val="000000"/>
                </a:solidFill>
                <a:latin typeface="Interstate-Light" pitchFamily="2" charset="0"/>
              </a:rPr>
              <a:t>Evoluzione armonica degli apparati  di accesso e delle piattaforme di servizio </a:t>
            </a:r>
          </a:p>
          <a:p>
            <a:pPr marL="271463" marR="0" indent="-184150" defTabSz="914400" eaLnBrk="0" latinLnBrk="0" hangingPunct="0">
              <a:lnSpc>
                <a:spcPct val="100000"/>
              </a:lnSpc>
              <a:spcBef>
                <a:spcPct val="20000"/>
              </a:spcBef>
              <a:buClr>
                <a:srgbClr val="CE110F"/>
              </a:buClr>
              <a:buSzPct val="40000"/>
              <a:buFont typeface="Marlett" pitchFamily="2" charset="2"/>
              <a:buChar char="g"/>
              <a:tabLst/>
              <a:defRPr/>
            </a:pPr>
            <a:r>
              <a:rPr lang="it-IT" sz="1200" b="1" spc="150" dirty="0" smtClean="0">
                <a:ln w="11430"/>
                <a:solidFill>
                  <a:srgbClr val="000000"/>
                </a:solidFill>
                <a:latin typeface="Interstate-Light" pitchFamily="2" charset="0"/>
              </a:rPr>
              <a:t>Ampliamento costante del bouquet di Servizi</a:t>
            </a:r>
          </a:p>
          <a:p>
            <a:pPr marL="271463" marR="0" indent="-184150" defTabSz="914400" eaLnBrk="0" latinLnBrk="0" hangingPunct="0">
              <a:lnSpc>
                <a:spcPct val="100000"/>
              </a:lnSpc>
              <a:spcBef>
                <a:spcPct val="20000"/>
              </a:spcBef>
              <a:buClr>
                <a:srgbClr val="CE110F"/>
              </a:buClr>
              <a:buSzPct val="40000"/>
              <a:buFont typeface="Marlett" pitchFamily="2" charset="2"/>
              <a:buChar char="g"/>
              <a:tabLst/>
              <a:defRPr/>
            </a:pPr>
            <a:r>
              <a:rPr lang="it-IT" sz="1200" b="1" spc="150" dirty="0" smtClean="0">
                <a:ln w="11430"/>
                <a:solidFill>
                  <a:srgbClr val="000000"/>
                </a:solidFill>
                <a:latin typeface="Interstate-Light" pitchFamily="2" charset="0"/>
              </a:rPr>
              <a:t>Salvaguardia degli investimenti</a:t>
            </a:r>
          </a:p>
          <a:p>
            <a:pPr marL="271463" marR="0" indent="-184150" defTabSz="914400" eaLnBrk="0" latinLnBrk="0" hangingPunct="0">
              <a:lnSpc>
                <a:spcPct val="100000"/>
              </a:lnSpc>
              <a:spcBef>
                <a:spcPct val="20000"/>
              </a:spcBef>
              <a:buClr>
                <a:srgbClr val="CE110F"/>
              </a:buClr>
              <a:buSzPct val="40000"/>
              <a:buFont typeface="Marlett" pitchFamily="2" charset="2"/>
              <a:buChar char="g"/>
              <a:tabLst/>
              <a:defRPr/>
            </a:pPr>
            <a:r>
              <a:rPr lang="it-IT" sz="1200" b="1" spc="150" dirty="0" smtClean="0">
                <a:ln w="11430"/>
                <a:solidFill>
                  <a:srgbClr val="000000"/>
                </a:solidFill>
                <a:latin typeface="Interstate-Light" pitchFamily="2" charset="0"/>
              </a:rPr>
              <a:t>Riduzione Capex e Opex</a:t>
            </a:r>
          </a:p>
        </p:txBody>
      </p:sp>
      <p:sp>
        <p:nvSpPr>
          <p:cNvPr id="257" name="Rectangle 256"/>
          <p:cNvSpPr/>
          <p:nvPr/>
        </p:nvSpPr>
        <p:spPr bwMode="auto">
          <a:xfrm>
            <a:off x="4341145" y="3098064"/>
            <a:ext cx="690629" cy="244698"/>
          </a:xfrm>
          <a:prstGeom prst="rect">
            <a:avLst/>
          </a:prstGeom>
          <a:solidFill>
            <a:schemeClr val="accent6"/>
          </a:solidFill>
          <a:ln w="63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eaLnBrk="0" latinLnBrk="0" hangingPunct="0">
              <a:lnSpc>
                <a:spcPct val="100000"/>
              </a:lnSpc>
              <a:spcBef>
                <a:spcPct val="20000"/>
              </a:spcBef>
              <a:buClr>
                <a:srgbClr val="F4BF17"/>
              </a:buClr>
              <a:buSzPct val="40000"/>
              <a:tabLst/>
            </a:pPr>
            <a:r>
              <a:rPr lang="it-IT" sz="600" dirty="0" smtClean="0">
                <a:solidFill>
                  <a:schemeClr val="tx1"/>
                </a:solidFill>
              </a:rPr>
              <a:t>Basic VoIP</a:t>
            </a:r>
          </a:p>
        </p:txBody>
      </p:sp>
      <p:sp>
        <p:nvSpPr>
          <p:cNvPr id="264" name="Rectangle 263"/>
          <p:cNvSpPr/>
          <p:nvPr/>
        </p:nvSpPr>
        <p:spPr bwMode="auto">
          <a:xfrm>
            <a:off x="5182924" y="2980007"/>
            <a:ext cx="690629" cy="244698"/>
          </a:xfrm>
          <a:prstGeom prst="rect">
            <a:avLst/>
          </a:prstGeom>
          <a:solidFill>
            <a:schemeClr val="accent6"/>
          </a:solidFill>
          <a:ln w="63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  <a:buNone/>
            </a:pPr>
            <a:r>
              <a:rPr lang="it-IT" sz="600" dirty="0" smtClean="0">
                <a:solidFill>
                  <a:schemeClr val="tx1"/>
                </a:solidFill>
              </a:rPr>
              <a:t>Class 5 Services</a:t>
            </a:r>
            <a:endParaRPr lang="en-US" sz="600" dirty="0" smtClean="0">
              <a:solidFill>
                <a:schemeClr val="tx1"/>
              </a:solidFill>
            </a:endParaRPr>
          </a:p>
        </p:txBody>
      </p:sp>
      <p:sp>
        <p:nvSpPr>
          <p:cNvPr id="265" name="Rectangle 264"/>
          <p:cNvSpPr/>
          <p:nvPr/>
        </p:nvSpPr>
        <p:spPr bwMode="auto">
          <a:xfrm>
            <a:off x="6003773" y="2797557"/>
            <a:ext cx="690629" cy="244698"/>
          </a:xfrm>
          <a:prstGeom prst="rect">
            <a:avLst/>
          </a:prstGeom>
          <a:solidFill>
            <a:schemeClr val="accent6"/>
          </a:solidFill>
          <a:ln w="63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600" dirty="0" smtClean="0">
                <a:solidFill>
                  <a:schemeClr val="tx1"/>
                </a:solidFill>
              </a:rPr>
              <a:t>Unified Messaging</a:t>
            </a:r>
            <a:endParaRPr lang="en-US" sz="600" dirty="0" smtClean="0">
              <a:solidFill>
                <a:schemeClr val="tx1"/>
              </a:solidFill>
            </a:endParaRPr>
          </a:p>
        </p:txBody>
      </p:sp>
      <p:sp>
        <p:nvSpPr>
          <p:cNvPr id="266" name="Rectangle 265"/>
          <p:cNvSpPr/>
          <p:nvPr/>
        </p:nvSpPr>
        <p:spPr bwMode="auto">
          <a:xfrm>
            <a:off x="6726959" y="2682859"/>
            <a:ext cx="690629" cy="244698"/>
          </a:xfrm>
          <a:prstGeom prst="rect">
            <a:avLst/>
          </a:prstGeom>
          <a:solidFill>
            <a:schemeClr val="accent6"/>
          </a:solidFill>
          <a:ln w="63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  <a:buNone/>
            </a:pPr>
            <a:r>
              <a:rPr lang="it-IT" sz="600" dirty="0" smtClean="0">
                <a:solidFill>
                  <a:schemeClr val="tx1"/>
                </a:solidFill>
              </a:rPr>
              <a:t>H.323/SIP IW</a:t>
            </a:r>
            <a:endParaRPr lang="en-US" sz="600" dirty="0" smtClean="0">
              <a:solidFill>
                <a:schemeClr val="tx1"/>
              </a:solidFill>
            </a:endParaRPr>
          </a:p>
        </p:txBody>
      </p:sp>
      <p:sp>
        <p:nvSpPr>
          <p:cNvPr id="267" name="Rectangle 266"/>
          <p:cNvSpPr/>
          <p:nvPr/>
        </p:nvSpPr>
        <p:spPr bwMode="auto">
          <a:xfrm>
            <a:off x="7408285" y="2419636"/>
            <a:ext cx="690629" cy="244698"/>
          </a:xfrm>
          <a:prstGeom prst="rect">
            <a:avLst/>
          </a:prstGeom>
          <a:solidFill>
            <a:schemeClr val="accent6"/>
          </a:solidFill>
          <a:ln w="63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600" dirty="0" smtClean="0">
                <a:solidFill>
                  <a:schemeClr val="tx1"/>
                </a:solidFill>
              </a:rPr>
              <a:t>IP Centrex®</a:t>
            </a:r>
          </a:p>
        </p:txBody>
      </p:sp>
      <p:sp>
        <p:nvSpPr>
          <p:cNvPr id="268" name="Rectangle 267"/>
          <p:cNvSpPr/>
          <p:nvPr/>
        </p:nvSpPr>
        <p:spPr bwMode="auto">
          <a:xfrm>
            <a:off x="8145775" y="2171997"/>
            <a:ext cx="690629" cy="244698"/>
          </a:xfrm>
          <a:prstGeom prst="rect">
            <a:avLst/>
          </a:prstGeom>
          <a:solidFill>
            <a:schemeClr val="accent6"/>
          </a:solidFill>
          <a:ln w="63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  <a:buNone/>
            </a:pPr>
            <a:r>
              <a:rPr lang="it-IT" sz="600" dirty="0" smtClean="0">
                <a:solidFill>
                  <a:schemeClr val="tx1"/>
                </a:solidFill>
              </a:rPr>
              <a:t>FMC</a:t>
            </a:r>
            <a:endParaRPr lang="en-US" sz="600" dirty="0" smtClean="0">
              <a:solidFill>
                <a:schemeClr val="tx1"/>
              </a:solidFill>
            </a:endParaRPr>
          </a:p>
        </p:txBody>
      </p:sp>
      <p:grpSp>
        <p:nvGrpSpPr>
          <p:cNvPr id="745" name="Group 516"/>
          <p:cNvGrpSpPr/>
          <p:nvPr/>
        </p:nvGrpSpPr>
        <p:grpSpPr>
          <a:xfrm>
            <a:off x="6227011" y="1462445"/>
            <a:ext cx="809223" cy="942304"/>
            <a:chOff x="2764395" y="4079939"/>
            <a:chExt cx="809223" cy="942304"/>
          </a:xfrm>
        </p:grpSpPr>
        <p:sp>
          <p:nvSpPr>
            <p:cNvPr id="273" name="Rectangle 272"/>
            <p:cNvSpPr/>
            <p:nvPr/>
          </p:nvSpPr>
          <p:spPr bwMode="auto">
            <a:xfrm>
              <a:off x="2764395" y="4079939"/>
              <a:ext cx="809223" cy="94230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635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marL="0" marR="0" indent="0" defTabSz="914400" eaLnBrk="0" latinLnBrk="0" hangingPunct="0">
                <a:lnSpc>
                  <a:spcPct val="100000"/>
                </a:lnSpc>
                <a:spcBef>
                  <a:spcPct val="20000"/>
                </a:spcBef>
                <a:buClr>
                  <a:srgbClr val="F4BF17"/>
                </a:buClr>
                <a:buSzPct val="40000"/>
                <a:buNone/>
                <a:tabLst/>
              </a:pPr>
              <a:r>
                <a:rPr lang="it-IT" sz="600" dirty="0" smtClean="0">
                  <a:solidFill>
                    <a:schemeClr val="tx1"/>
                  </a:solidFill>
                </a:rPr>
                <a:t>Easy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1 POTS, 2 Enet, WiFi, DECT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SIP</a:t>
              </a:r>
            </a:p>
          </p:txBody>
        </p:sp>
        <p:pic>
          <p:nvPicPr>
            <p:cNvPr id="274" name="Picture 3" descr="C:\Users\groda.FASTWEBIT\Pictures\Apparati\HAGv1.png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2838807" y="4131811"/>
              <a:ext cx="662725" cy="405616"/>
            </a:xfrm>
            <a:prstGeom prst="rect">
              <a:avLst/>
            </a:prstGeom>
            <a:effectLst/>
          </p:spPr>
          <p:style>
            <a:lnRef idx="1">
              <a:schemeClr val="accent4"/>
            </a:lnRef>
            <a:fillRef idx="1001">
              <a:schemeClr val="lt1"/>
            </a:fillRef>
            <a:effectRef idx="1">
              <a:schemeClr val="accent4"/>
            </a:effectRef>
            <a:fontRef idx="minor">
              <a:schemeClr val="dk1"/>
            </a:fontRef>
          </p:style>
        </p:pic>
      </p:grpSp>
      <p:grpSp>
        <p:nvGrpSpPr>
          <p:cNvPr id="746" name="Group 515"/>
          <p:cNvGrpSpPr/>
          <p:nvPr/>
        </p:nvGrpSpPr>
        <p:grpSpPr>
          <a:xfrm>
            <a:off x="5296865" y="1762952"/>
            <a:ext cx="809223" cy="942304"/>
            <a:chOff x="1834249" y="4380446"/>
            <a:chExt cx="809223" cy="942304"/>
          </a:xfrm>
        </p:grpSpPr>
        <p:sp>
          <p:nvSpPr>
            <p:cNvPr id="279" name="Rectangle 278"/>
            <p:cNvSpPr/>
            <p:nvPr/>
          </p:nvSpPr>
          <p:spPr bwMode="auto">
            <a:xfrm>
              <a:off x="1834249" y="4380446"/>
              <a:ext cx="809223" cy="94230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635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None/>
              </a:pPr>
              <a:r>
                <a:rPr lang="it-IT" sz="600" dirty="0" smtClean="0">
                  <a:solidFill>
                    <a:schemeClr val="tx1"/>
                  </a:solidFill>
                </a:rPr>
                <a:t>HAG v2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2 POTS, 3 Enet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H323+CH+MWI</a:t>
              </a:r>
            </a:p>
          </p:txBody>
        </p:sp>
        <p:pic>
          <p:nvPicPr>
            <p:cNvPr id="280" name="Picture 3" descr="C:\Users\groda.FASTWEBIT\Pictures\Apparati\HAGv1.png"/>
            <p:cNvPicPr>
              <a:picLocks noChangeAspect="1" noChangeArrowheads="1"/>
            </p:cNvPicPr>
            <p:nvPr/>
          </p:nvPicPr>
          <p:blipFill>
            <a:blip r:embed="rId5" cstate="print"/>
            <a:stretch>
              <a:fillRect/>
            </a:stretch>
          </p:blipFill>
          <p:spPr bwMode="auto">
            <a:xfrm>
              <a:off x="1879537" y="4424474"/>
              <a:ext cx="722079" cy="415316"/>
            </a:xfrm>
            <a:prstGeom prst="rect">
              <a:avLst/>
            </a:prstGeom>
            <a:effectLst/>
          </p:spPr>
          <p:style>
            <a:lnRef idx="1">
              <a:schemeClr val="accent4"/>
            </a:lnRef>
            <a:fillRef idx="1001">
              <a:schemeClr val="lt1"/>
            </a:fillRef>
            <a:effectRef idx="1">
              <a:schemeClr val="accent4"/>
            </a:effectRef>
            <a:fontRef idx="minor">
              <a:schemeClr val="dk1"/>
            </a:fontRef>
          </p:style>
        </p:pic>
      </p:grpSp>
      <p:grpSp>
        <p:nvGrpSpPr>
          <p:cNvPr id="747" name="Group 514"/>
          <p:cNvGrpSpPr/>
          <p:nvPr/>
        </p:nvGrpSpPr>
        <p:grpSpPr>
          <a:xfrm>
            <a:off x="4380676" y="1973307"/>
            <a:ext cx="809223" cy="942304"/>
            <a:chOff x="918060" y="4590801"/>
            <a:chExt cx="809223" cy="942304"/>
          </a:xfrm>
        </p:grpSpPr>
        <p:sp>
          <p:nvSpPr>
            <p:cNvPr id="282" name="Rectangle 281"/>
            <p:cNvSpPr/>
            <p:nvPr/>
          </p:nvSpPr>
          <p:spPr bwMode="auto">
            <a:xfrm>
              <a:off x="918060" y="4590801"/>
              <a:ext cx="809223" cy="94230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635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  <a:buNone/>
              </a:pPr>
              <a:r>
                <a:rPr lang="it-IT" sz="600" dirty="0" smtClean="0">
                  <a:solidFill>
                    <a:schemeClr val="tx1"/>
                  </a:solidFill>
                </a:rPr>
                <a:t>HAG v1 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2 POTS, 3 Enet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H323</a:t>
              </a:r>
            </a:p>
          </p:txBody>
        </p:sp>
        <p:pic>
          <p:nvPicPr>
            <p:cNvPr id="283" name="Picture 3" descr="C:\Users\groda.FASTWEBIT\Pictures\Apparati\HAGv1.png"/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971331" y="4659488"/>
              <a:ext cx="722597" cy="386367"/>
            </a:xfrm>
            <a:prstGeom prst="rect">
              <a:avLst/>
            </a:prstGeom>
            <a:effectLst/>
          </p:spPr>
          <p:style>
            <a:lnRef idx="1">
              <a:schemeClr val="accent4"/>
            </a:lnRef>
            <a:fillRef idx="1001">
              <a:schemeClr val="lt1"/>
            </a:fillRef>
            <a:effectRef idx="1">
              <a:schemeClr val="accent4"/>
            </a:effectRef>
            <a:fontRef idx="minor">
              <a:schemeClr val="dk1"/>
            </a:fontRef>
          </p:style>
        </p:pic>
      </p:grpSp>
      <p:grpSp>
        <p:nvGrpSpPr>
          <p:cNvPr id="748" name="Group 517"/>
          <p:cNvGrpSpPr/>
          <p:nvPr/>
        </p:nvGrpSpPr>
        <p:grpSpPr>
          <a:xfrm>
            <a:off x="7150180" y="1046028"/>
            <a:ext cx="809223" cy="942304"/>
            <a:chOff x="3687564" y="3663522"/>
            <a:chExt cx="809223" cy="942304"/>
          </a:xfrm>
        </p:grpSpPr>
        <p:sp>
          <p:nvSpPr>
            <p:cNvPr id="285" name="Rectangle 284"/>
            <p:cNvSpPr/>
            <p:nvPr/>
          </p:nvSpPr>
          <p:spPr bwMode="auto">
            <a:xfrm>
              <a:off x="3687564" y="3663522"/>
              <a:ext cx="809223" cy="94230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635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b" anchorCtr="0" compatLnSpc="1">
              <a:prstTxWarp prst="textNoShape">
                <a:avLst/>
              </a:prstTxWarp>
            </a:bodyPr>
            <a:lstStyle/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NGRG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2 POTS, 4 Enet, WiFi, USB</a:t>
              </a:r>
            </a:p>
            <a:p>
              <a:pPr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600" dirty="0" smtClean="0">
                  <a:solidFill>
                    <a:schemeClr val="tx1"/>
                  </a:solidFill>
                </a:rPr>
                <a:t>SIP</a:t>
              </a:r>
            </a:p>
          </p:txBody>
        </p:sp>
        <p:pic>
          <p:nvPicPr>
            <p:cNvPr id="286" name="Picture 3" descr="C:\Users\groda.FASTWEBIT\Pictures\Apparati\HAGv1.png"/>
            <p:cNvPicPr>
              <a:picLocks noChangeAspect="1" noChangeArrowheads="1"/>
            </p:cNvPicPr>
            <p:nvPr/>
          </p:nvPicPr>
          <p:blipFill>
            <a:blip r:embed="rId7" cstate="print"/>
            <a:stretch>
              <a:fillRect/>
            </a:stretch>
          </p:blipFill>
          <p:spPr bwMode="auto">
            <a:xfrm>
              <a:off x="3791914" y="3707550"/>
              <a:ext cx="603954" cy="415316"/>
            </a:xfrm>
            <a:prstGeom prst="rect">
              <a:avLst/>
            </a:prstGeom>
            <a:effectLst/>
          </p:spPr>
          <p:style>
            <a:lnRef idx="1">
              <a:schemeClr val="accent4"/>
            </a:lnRef>
            <a:fillRef idx="1001">
              <a:schemeClr val="lt1"/>
            </a:fillRef>
            <a:effectRef idx="1">
              <a:schemeClr val="accent4"/>
            </a:effectRef>
            <a:fontRef idx="minor">
              <a:schemeClr val="dk1"/>
            </a:fontRef>
          </p:style>
        </p:pic>
      </p:grpSp>
      <p:grpSp>
        <p:nvGrpSpPr>
          <p:cNvPr id="370" name="Group 369"/>
          <p:cNvGrpSpPr/>
          <p:nvPr/>
        </p:nvGrpSpPr>
        <p:grpSpPr>
          <a:xfrm>
            <a:off x="5487892" y="3929066"/>
            <a:ext cx="3960000" cy="2376000"/>
            <a:chOff x="5487892" y="3939067"/>
            <a:chExt cx="3960000" cy="2376000"/>
          </a:xfrm>
        </p:grpSpPr>
        <p:sp>
          <p:nvSpPr>
            <p:cNvPr id="391" name="Rounded Rectangle 390"/>
            <p:cNvSpPr/>
            <p:nvPr/>
          </p:nvSpPr>
          <p:spPr>
            <a:xfrm>
              <a:off x="5487892" y="3939067"/>
              <a:ext cx="3960000" cy="2376000"/>
            </a:xfrm>
            <a:prstGeom prst="roundRect">
              <a:avLst>
                <a:gd name="adj" fmla="val 6068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1400" b="1" spc="150" dirty="0" smtClean="0">
                  <a:ln w="11430"/>
                  <a:solidFill>
                    <a:schemeClr val="tx1"/>
                  </a:solidFill>
                  <a:latin typeface="Interstate-Light" pitchFamily="2" charset="0"/>
                </a:rPr>
                <a:t>SERVICE PLATFORMS: 2010</a:t>
              </a:r>
            </a:p>
          </p:txBody>
        </p:sp>
        <p:grpSp>
          <p:nvGrpSpPr>
            <p:cNvPr id="392" name="Group 187"/>
            <p:cNvGrpSpPr/>
            <p:nvPr/>
          </p:nvGrpSpPr>
          <p:grpSpPr>
            <a:xfrm>
              <a:off x="5497962" y="4275392"/>
              <a:ext cx="3822843" cy="1939690"/>
              <a:chOff x="5497962" y="4137232"/>
              <a:chExt cx="3822843" cy="1939690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pic>
            <p:nvPicPr>
              <p:cNvPr id="393" name="Picture 7" descr="C:\Users\groda\Pictures\Microsoft Clip Organizer\Cloud2.png"/>
              <p:cNvPicPr preferRelativeResize="0">
                <a:picLocks noChangeArrowheads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 bwMode="auto">
              <a:xfrm>
                <a:off x="6286500" y="4302125"/>
                <a:ext cx="2028825" cy="1439539"/>
              </a:xfrm>
              <a:prstGeom prst="rect">
                <a:avLst/>
              </a:prstGeom>
              <a:noFill/>
              <a:effectLst>
                <a:outerShdw blurRad="139700" dist="88900" dir="5100000" sx="105000" sy="105000" algn="ctr" rotWithShape="0">
                  <a:srgbClr val="000000">
                    <a:alpha val="29000"/>
                  </a:srgbClr>
                </a:outerShdw>
              </a:effectLst>
            </p:spPr>
          </p:pic>
          <p:sp>
            <p:nvSpPr>
              <p:cNvPr id="394" name="Rectangle 21"/>
              <p:cNvSpPr>
                <a:spLocks noChangeArrowheads="1"/>
              </p:cNvSpPr>
              <p:nvPr/>
            </p:nvSpPr>
            <p:spPr bwMode="auto">
              <a:xfrm>
                <a:off x="6555946" y="5041988"/>
                <a:ext cx="1347800" cy="2725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it-IT" sz="800" b="1" dirty="0">
                    <a:solidFill>
                      <a:schemeClr val="accent3">
                        <a:lumMod val="50000"/>
                      </a:schemeClr>
                    </a:solidFill>
                    <a:latin typeface="+mn-lt"/>
                  </a:rPr>
                  <a:t>IP Backbone</a:t>
                </a:r>
                <a:endParaRPr lang="en-GB" sz="800" b="1" dirty="0">
                  <a:solidFill>
                    <a:schemeClr val="accent3">
                      <a:lumMod val="50000"/>
                    </a:schemeClr>
                  </a:solidFill>
                  <a:latin typeface="+mn-lt"/>
                </a:endParaRPr>
              </a:p>
            </p:txBody>
          </p:sp>
          <p:grpSp>
            <p:nvGrpSpPr>
              <p:cNvPr id="395" name="Group 183"/>
              <p:cNvGrpSpPr/>
              <p:nvPr/>
            </p:nvGrpSpPr>
            <p:grpSpPr>
              <a:xfrm>
                <a:off x="6491625" y="4690475"/>
                <a:ext cx="1355109" cy="347465"/>
                <a:chOff x="6491625" y="4690475"/>
                <a:chExt cx="1355109" cy="347465"/>
              </a:xfrm>
            </p:grpSpPr>
            <p:pic>
              <p:nvPicPr>
                <p:cNvPr id="467" name="Picture 8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51695" y="4849765"/>
                  <a:ext cx="36546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8" name="Picture 9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42193" y="4857187"/>
                  <a:ext cx="37277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9" name="Picture 10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33422" y="4863934"/>
                  <a:ext cx="36546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0" name="Picture 11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24651" y="4871356"/>
                  <a:ext cx="36546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1" name="Picture 12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15149" y="4878103"/>
                  <a:ext cx="37277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2" name="Picture 13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04916" y="4885525"/>
                  <a:ext cx="36546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3" name="Picture 15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879739" y="4894294"/>
                  <a:ext cx="36546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4" name="Picture 16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870237" y="4901716"/>
                  <a:ext cx="37277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5" name="Picture 17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861466" y="4908463"/>
                  <a:ext cx="36546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6" name="Picture 18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852695" y="4915885"/>
                  <a:ext cx="36546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7" name="Picture 19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843193" y="4922632"/>
                  <a:ext cx="37277" cy="357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8" name="Picture 20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832960" y="4930054"/>
                  <a:ext cx="36546" cy="35760"/>
                </a:xfrm>
                <a:prstGeom prst="rect">
                  <a:avLst/>
                </a:prstGeom>
                <a:noFill/>
              </p:spPr>
            </p:pic>
            <p:sp>
              <p:nvSpPr>
                <p:cNvPr id="479" name="Freeform 22"/>
                <p:cNvSpPr>
                  <a:spLocks noChangeAspect="1"/>
                </p:cNvSpPr>
                <p:nvPr/>
              </p:nvSpPr>
              <p:spPr bwMode="auto">
                <a:xfrm>
                  <a:off x="6637807" y="4907725"/>
                  <a:ext cx="82593" cy="2901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302" y="122"/>
                    </a:cxn>
                  </a:cxnLst>
                  <a:rect l="0" t="0" r="r" b="b"/>
                  <a:pathLst>
                    <a:path w="302" h="122">
                      <a:moveTo>
                        <a:pt x="0" y="0"/>
                      </a:moveTo>
                      <a:lnTo>
                        <a:pt x="302" y="122"/>
                      </a:lnTo>
                    </a:path>
                  </a:pathLst>
                </a:custGeom>
                <a:noFill/>
                <a:ln w="9525" cap="flat" cmpd="sng">
                  <a:solidFill>
                    <a:srgbClr val="F6AC2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0" name="Line 23"/>
                <p:cNvSpPr>
                  <a:spLocks noChangeAspect="1" noChangeShapeType="1"/>
                </p:cNvSpPr>
                <p:nvPr/>
              </p:nvSpPr>
              <p:spPr bwMode="auto">
                <a:xfrm>
                  <a:off x="6694088" y="4871292"/>
                  <a:ext cx="76014" cy="26313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1" name="Line 24"/>
                <p:cNvSpPr>
                  <a:spLocks noChangeAspect="1" noChangeShapeType="1"/>
                </p:cNvSpPr>
                <p:nvPr/>
              </p:nvSpPr>
              <p:spPr bwMode="auto">
                <a:xfrm>
                  <a:off x="6683124" y="4878714"/>
                  <a:ext cx="76014" cy="26313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2" name="Line 25"/>
                <p:cNvSpPr>
                  <a:spLocks noChangeAspect="1" noChangeShapeType="1"/>
                </p:cNvSpPr>
                <p:nvPr/>
              </p:nvSpPr>
              <p:spPr bwMode="auto">
                <a:xfrm>
                  <a:off x="6672160" y="4886135"/>
                  <a:ext cx="76014" cy="26313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3" name="Line 26"/>
                <p:cNvSpPr>
                  <a:spLocks noChangeAspect="1" noChangeShapeType="1"/>
                </p:cNvSpPr>
                <p:nvPr/>
              </p:nvSpPr>
              <p:spPr bwMode="auto">
                <a:xfrm>
                  <a:off x="6661196" y="4893556"/>
                  <a:ext cx="76014" cy="26313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4" name="Line 27"/>
                <p:cNvSpPr>
                  <a:spLocks noChangeAspect="1" noChangeShapeType="1"/>
                </p:cNvSpPr>
                <p:nvPr/>
              </p:nvSpPr>
              <p:spPr bwMode="auto">
                <a:xfrm>
                  <a:off x="6650232" y="4901653"/>
                  <a:ext cx="76014" cy="26313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5" name="Freeform 28"/>
                <p:cNvSpPr>
                  <a:spLocks noChangeAspect="1"/>
                </p:cNvSpPr>
                <p:nvPr/>
              </p:nvSpPr>
              <p:spPr bwMode="auto">
                <a:xfrm>
                  <a:off x="6865120" y="4948881"/>
                  <a:ext cx="40931" cy="45879"/>
                </a:xfrm>
                <a:custGeom>
                  <a:avLst/>
                  <a:gdLst/>
                  <a:ahLst/>
                  <a:cxnLst>
                    <a:cxn ang="0">
                      <a:pos x="148" y="20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8" h="200">
                      <a:moveTo>
                        <a:pt x="148" y="20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6" name="Freeform 29"/>
                <p:cNvSpPr>
                  <a:spLocks noChangeAspect="1"/>
                </p:cNvSpPr>
                <p:nvPr/>
              </p:nvSpPr>
              <p:spPr bwMode="auto">
                <a:xfrm>
                  <a:off x="6979142" y="4801799"/>
                  <a:ext cx="79669" cy="38457"/>
                </a:xfrm>
                <a:custGeom>
                  <a:avLst/>
                  <a:gdLst/>
                  <a:ahLst/>
                  <a:cxnLst>
                    <a:cxn ang="0">
                      <a:pos x="147" y="0"/>
                    </a:cxn>
                    <a:cxn ang="0">
                      <a:pos x="0" y="83"/>
                    </a:cxn>
                  </a:cxnLst>
                  <a:rect l="0" t="0" r="r" b="b"/>
                  <a:pathLst>
                    <a:path w="147" h="83">
                      <a:moveTo>
                        <a:pt x="147" y="0"/>
                      </a:moveTo>
                      <a:lnTo>
                        <a:pt x="0" y="83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7" name="Freeform 30"/>
                <p:cNvSpPr>
                  <a:spLocks noChangeAspect="1"/>
                </p:cNvSpPr>
                <p:nvPr/>
              </p:nvSpPr>
              <p:spPr bwMode="auto">
                <a:xfrm>
                  <a:off x="6970372" y="4796401"/>
                  <a:ext cx="84055" cy="35759"/>
                </a:xfrm>
                <a:custGeom>
                  <a:avLst/>
                  <a:gdLst/>
                  <a:ahLst/>
                  <a:cxnLst>
                    <a:cxn ang="0">
                      <a:pos x="155" y="0"/>
                    </a:cxn>
                    <a:cxn ang="0">
                      <a:pos x="0" y="76"/>
                    </a:cxn>
                  </a:cxnLst>
                  <a:rect l="0" t="0" r="r" b="b"/>
                  <a:pathLst>
                    <a:path w="155" h="76">
                      <a:moveTo>
                        <a:pt x="155" y="0"/>
                      </a:moveTo>
                      <a:lnTo>
                        <a:pt x="0" y="76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8" name="Freeform 31"/>
                <p:cNvSpPr>
                  <a:spLocks noChangeAspect="1"/>
                </p:cNvSpPr>
                <p:nvPr/>
              </p:nvSpPr>
              <p:spPr bwMode="auto">
                <a:xfrm>
                  <a:off x="6957946" y="4790329"/>
                  <a:ext cx="92095" cy="33060"/>
                </a:xfrm>
                <a:custGeom>
                  <a:avLst/>
                  <a:gdLst/>
                  <a:ahLst/>
                  <a:cxnLst>
                    <a:cxn ang="0">
                      <a:pos x="169" y="0"/>
                    </a:cxn>
                    <a:cxn ang="0">
                      <a:pos x="0" y="70"/>
                    </a:cxn>
                  </a:cxnLst>
                  <a:rect l="0" t="0" r="r" b="b"/>
                  <a:pathLst>
                    <a:path w="169" h="70">
                      <a:moveTo>
                        <a:pt x="169" y="0"/>
                      </a:moveTo>
                      <a:lnTo>
                        <a:pt x="0" y="7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89" name="Freeform 32"/>
                <p:cNvSpPr>
                  <a:spLocks noChangeAspect="1"/>
                </p:cNvSpPr>
                <p:nvPr/>
              </p:nvSpPr>
              <p:spPr bwMode="auto">
                <a:xfrm>
                  <a:off x="6923593" y="4774811"/>
                  <a:ext cx="128640" cy="12819"/>
                </a:xfrm>
                <a:custGeom>
                  <a:avLst/>
                  <a:gdLst/>
                  <a:ahLst/>
                  <a:cxnLst>
                    <a:cxn ang="0">
                      <a:pos x="236" y="0"/>
                    </a:cxn>
                    <a:cxn ang="0">
                      <a:pos x="0" y="28"/>
                    </a:cxn>
                  </a:cxnLst>
                  <a:rect l="0" t="0" r="r" b="b"/>
                  <a:pathLst>
                    <a:path w="236" h="28">
                      <a:moveTo>
                        <a:pt x="236" y="0"/>
                      </a:moveTo>
                      <a:lnTo>
                        <a:pt x="0" y="28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0" name="Freeform 33"/>
                <p:cNvSpPr>
                  <a:spLocks noChangeAspect="1"/>
                </p:cNvSpPr>
                <p:nvPr/>
              </p:nvSpPr>
              <p:spPr bwMode="auto">
                <a:xfrm>
                  <a:off x="6752561" y="4945508"/>
                  <a:ext cx="80401" cy="67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7" y="2"/>
                    </a:cxn>
                  </a:cxnLst>
                  <a:rect l="0" t="0" r="r" b="b"/>
                  <a:pathLst>
                    <a:path w="297" h="2">
                      <a:moveTo>
                        <a:pt x="0" y="0"/>
                      </a:moveTo>
                      <a:lnTo>
                        <a:pt x="297" y="2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1" name="Line 34"/>
                <p:cNvSpPr>
                  <a:spLocks noChangeAspect="1" noChangeShapeType="1"/>
                </p:cNvSpPr>
                <p:nvPr/>
              </p:nvSpPr>
              <p:spPr bwMode="auto">
                <a:xfrm>
                  <a:off x="6762062" y="4937411"/>
                  <a:ext cx="81131" cy="0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2" name="Freeform 35"/>
                <p:cNvSpPr>
                  <a:spLocks noChangeAspect="1"/>
                </p:cNvSpPr>
                <p:nvPr/>
              </p:nvSpPr>
              <p:spPr bwMode="auto">
                <a:xfrm>
                  <a:off x="6774488" y="4929315"/>
                  <a:ext cx="78938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2" y="1"/>
                    </a:cxn>
                  </a:cxnLst>
                  <a:rect l="0" t="0" r="r" b="b"/>
                  <a:pathLst>
                    <a:path w="292" h="1">
                      <a:moveTo>
                        <a:pt x="0" y="0"/>
                      </a:moveTo>
                      <a:lnTo>
                        <a:pt x="292" y="1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3" name="Freeform 36"/>
                <p:cNvSpPr>
                  <a:spLocks noChangeAspect="1"/>
                </p:cNvSpPr>
                <p:nvPr/>
              </p:nvSpPr>
              <p:spPr bwMode="auto">
                <a:xfrm>
                  <a:off x="6807379" y="4907050"/>
                  <a:ext cx="78938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0" y="1"/>
                    </a:cxn>
                  </a:cxnLst>
                  <a:rect l="0" t="0" r="r" b="b"/>
                  <a:pathLst>
                    <a:path w="290" h="1">
                      <a:moveTo>
                        <a:pt x="0" y="0"/>
                      </a:moveTo>
                      <a:lnTo>
                        <a:pt x="290" y="1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4" name="Freeform 37"/>
                <p:cNvSpPr>
                  <a:spLocks noChangeAspect="1"/>
                </p:cNvSpPr>
                <p:nvPr/>
              </p:nvSpPr>
              <p:spPr bwMode="auto">
                <a:xfrm>
                  <a:off x="6795684" y="4914472"/>
                  <a:ext cx="79669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4" y="1"/>
                    </a:cxn>
                  </a:cxnLst>
                  <a:rect l="0" t="0" r="r" b="b"/>
                  <a:pathLst>
                    <a:path w="294" h="1">
                      <a:moveTo>
                        <a:pt x="0" y="0"/>
                      </a:moveTo>
                      <a:lnTo>
                        <a:pt x="294" y="1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5" name="Freeform 38"/>
                <p:cNvSpPr>
                  <a:spLocks noChangeAspect="1"/>
                </p:cNvSpPr>
                <p:nvPr/>
              </p:nvSpPr>
              <p:spPr bwMode="auto">
                <a:xfrm>
                  <a:off x="6784721" y="4921894"/>
                  <a:ext cx="79669" cy="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94" y="1"/>
                    </a:cxn>
                  </a:cxnLst>
                  <a:rect l="0" t="0" r="r" b="b"/>
                  <a:pathLst>
                    <a:path w="294" h="1">
                      <a:moveTo>
                        <a:pt x="0" y="0"/>
                      </a:moveTo>
                      <a:lnTo>
                        <a:pt x="294" y="1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6" name="Freeform 39"/>
                <p:cNvSpPr>
                  <a:spLocks noChangeAspect="1"/>
                </p:cNvSpPr>
                <p:nvPr/>
              </p:nvSpPr>
              <p:spPr bwMode="auto">
                <a:xfrm>
                  <a:off x="6633421" y="4830810"/>
                  <a:ext cx="46047" cy="52626"/>
                </a:xfrm>
                <a:custGeom>
                  <a:avLst/>
                  <a:gdLst/>
                  <a:ahLst/>
                  <a:cxnLst>
                    <a:cxn ang="0">
                      <a:pos x="0" y="225"/>
                    </a:cxn>
                    <a:cxn ang="0">
                      <a:pos x="168" y="0"/>
                    </a:cxn>
                  </a:cxnLst>
                  <a:rect l="0" t="0" r="r" b="b"/>
                  <a:pathLst>
                    <a:path w="168" h="225">
                      <a:moveTo>
                        <a:pt x="0" y="225"/>
                      </a:moveTo>
                      <a:lnTo>
                        <a:pt x="168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7" name="Freeform 40"/>
                <p:cNvSpPr>
                  <a:spLocks noChangeAspect="1"/>
                </p:cNvSpPr>
                <p:nvPr/>
              </p:nvSpPr>
              <p:spPr bwMode="auto">
                <a:xfrm>
                  <a:off x="6645847" y="4824064"/>
                  <a:ext cx="45317" cy="52626"/>
                </a:xfrm>
                <a:custGeom>
                  <a:avLst/>
                  <a:gdLst/>
                  <a:ahLst/>
                  <a:cxnLst>
                    <a:cxn ang="0">
                      <a:pos x="0" y="225"/>
                    </a:cxn>
                    <a:cxn ang="0">
                      <a:pos x="168" y="0"/>
                    </a:cxn>
                  </a:cxnLst>
                  <a:rect l="0" t="0" r="r" b="b"/>
                  <a:pathLst>
                    <a:path w="168" h="225">
                      <a:moveTo>
                        <a:pt x="0" y="225"/>
                      </a:moveTo>
                      <a:lnTo>
                        <a:pt x="168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8" name="Freeform 41"/>
                <p:cNvSpPr>
                  <a:spLocks noChangeAspect="1"/>
                </p:cNvSpPr>
                <p:nvPr/>
              </p:nvSpPr>
              <p:spPr bwMode="auto">
                <a:xfrm>
                  <a:off x="6619534" y="4838907"/>
                  <a:ext cx="45317" cy="52626"/>
                </a:xfrm>
                <a:custGeom>
                  <a:avLst/>
                  <a:gdLst/>
                  <a:ahLst/>
                  <a:cxnLst>
                    <a:cxn ang="0">
                      <a:pos x="0" y="225"/>
                    </a:cxn>
                    <a:cxn ang="0">
                      <a:pos x="168" y="0"/>
                    </a:cxn>
                  </a:cxnLst>
                  <a:rect l="0" t="0" r="r" b="b"/>
                  <a:pathLst>
                    <a:path w="168" h="225">
                      <a:moveTo>
                        <a:pt x="0" y="225"/>
                      </a:moveTo>
                      <a:lnTo>
                        <a:pt x="168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99" name="Freeform 42"/>
                <p:cNvSpPr>
                  <a:spLocks noChangeAspect="1"/>
                </p:cNvSpPr>
                <p:nvPr/>
              </p:nvSpPr>
              <p:spPr bwMode="auto">
                <a:xfrm>
                  <a:off x="6911899" y="4832160"/>
                  <a:ext cx="44586" cy="58698"/>
                </a:xfrm>
                <a:custGeom>
                  <a:avLst/>
                  <a:gdLst/>
                  <a:ahLst/>
                  <a:cxnLst>
                    <a:cxn ang="0">
                      <a:pos x="82" y="0"/>
                    </a:cxn>
                    <a:cxn ang="0">
                      <a:pos x="0" y="126"/>
                    </a:cxn>
                  </a:cxnLst>
                  <a:rect l="0" t="0" r="r" b="b"/>
                  <a:pathLst>
                    <a:path w="82" h="126">
                      <a:moveTo>
                        <a:pt x="82" y="0"/>
                      </a:moveTo>
                      <a:lnTo>
                        <a:pt x="0" y="126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0" name="Freeform 43"/>
                <p:cNvSpPr>
                  <a:spLocks noChangeAspect="1"/>
                </p:cNvSpPr>
                <p:nvPr/>
              </p:nvSpPr>
              <p:spPr bwMode="auto">
                <a:xfrm>
                  <a:off x="6896549" y="4843630"/>
                  <a:ext cx="44586" cy="58024"/>
                </a:xfrm>
                <a:custGeom>
                  <a:avLst/>
                  <a:gdLst/>
                  <a:ahLst/>
                  <a:cxnLst>
                    <a:cxn ang="0">
                      <a:pos x="82" y="0"/>
                    </a:cxn>
                    <a:cxn ang="0">
                      <a:pos x="0" y="126"/>
                    </a:cxn>
                  </a:cxnLst>
                  <a:rect l="0" t="0" r="r" b="b"/>
                  <a:pathLst>
                    <a:path w="82" h="126">
                      <a:moveTo>
                        <a:pt x="82" y="0"/>
                      </a:moveTo>
                      <a:lnTo>
                        <a:pt x="0" y="126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1" name="Freeform 44"/>
                <p:cNvSpPr>
                  <a:spLocks noChangeAspect="1"/>
                </p:cNvSpPr>
                <p:nvPr/>
              </p:nvSpPr>
              <p:spPr bwMode="auto">
                <a:xfrm>
                  <a:off x="6887778" y="4847678"/>
                  <a:ext cx="44586" cy="59372"/>
                </a:xfrm>
                <a:custGeom>
                  <a:avLst/>
                  <a:gdLst/>
                  <a:ahLst/>
                  <a:cxnLst>
                    <a:cxn ang="0">
                      <a:pos x="82" y="0"/>
                    </a:cxn>
                    <a:cxn ang="0">
                      <a:pos x="0" y="126"/>
                    </a:cxn>
                  </a:cxnLst>
                  <a:rect l="0" t="0" r="r" b="b"/>
                  <a:pathLst>
                    <a:path w="82" h="126">
                      <a:moveTo>
                        <a:pt x="82" y="0"/>
                      </a:moveTo>
                      <a:lnTo>
                        <a:pt x="0" y="126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2" name="Freeform 45"/>
                <p:cNvSpPr>
                  <a:spLocks noChangeAspect="1"/>
                </p:cNvSpPr>
                <p:nvPr/>
              </p:nvSpPr>
              <p:spPr bwMode="auto">
                <a:xfrm>
                  <a:off x="6860735" y="4842280"/>
                  <a:ext cx="73823" cy="90409"/>
                </a:xfrm>
                <a:custGeom>
                  <a:avLst/>
                  <a:gdLst/>
                  <a:ahLst/>
                  <a:cxnLst>
                    <a:cxn ang="0">
                      <a:pos x="136" y="0"/>
                    </a:cxn>
                    <a:cxn ang="0">
                      <a:pos x="0" y="194"/>
                    </a:cxn>
                  </a:cxnLst>
                  <a:rect l="0" t="0" r="r" b="b"/>
                  <a:pathLst>
                    <a:path w="136" h="194">
                      <a:moveTo>
                        <a:pt x="136" y="0"/>
                      </a:moveTo>
                      <a:lnTo>
                        <a:pt x="0" y="194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3" name="Line 46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910437" y="4764016"/>
                  <a:ext cx="143990" cy="6072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4" name="Freeform 47"/>
                <p:cNvSpPr>
                  <a:spLocks noChangeAspect="1"/>
                </p:cNvSpPr>
                <p:nvPr/>
              </p:nvSpPr>
              <p:spPr bwMode="auto">
                <a:xfrm>
                  <a:off x="6912630" y="4768065"/>
                  <a:ext cx="144720" cy="10795"/>
                </a:xfrm>
                <a:custGeom>
                  <a:avLst/>
                  <a:gdLst/>
                  <a:ahLst/>
                  <a:cxnLst>
                    <a:cxn ang="0">
                      <a:pos x="0" y="22"/>
                    </a:cxn>
                    <a:cxn ang="0">
                      <a:pos x="266" y="0"/>
                    </a:cxn>
                  </a:cxnLst>
                  <a:rect l="0" t="0" r="r" b="b"/>
                  <a:pathLst>
                    <a:path w="266" h="22">
                      <a:moveTo>
                        <a:pt x="0" y="22"/>
                      </a:moveTo>
                      <a:lnTo>
                        <a:pt x="266" y="0"/>
                      </a:lnTo>
                    </a:path>
                  </a:pathLst>
                </a:custGeom>
                <a:noFill/>
                <a:ln w="9525" cap="flat" cmpd="sng">
                  <a:solidFill>
                    <a:srgbClr val="F6AC28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5" name="Freeform 48"/>
                <p:cNvSpPr>
                  <a:spLocks noChangeAspect="1"/>
                </p:cNvSpPr>
                <p:nvPr/>
              </p:nvSpPr>
              <p:spPr bwMode="auto">
                <a:xfrm>
                  <a:off x="7731981" y="4727584"/>
                  <a:ext cx="60666" cy="1551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12" y="34"/>
                    </a:cxn>
                  </a:cxnLst>
                  <a:rect l="0" t="0" r="r" b="b"/>
                  <a:pathLst>
                    <a:path w="112" h="34">
                      <a:moveTo>
                        <a:pt x="0" y="0"/>
                      </a:moveTo>
                      <a:lnTo>
                        <a:pt x="112" y="34"/>
                      </a:lnTo>
                    </a:path>
                  </a:pathLst>
                </a:custGeom>
                <a:noFill/>
                <a:ln w="28575" cap="flat" cmpd="sng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6" name="Freeform 49"/>
                <p:cNvSpPr>
                  <a:spLocks noChangeAspect="1"/>
                </p:cNvSpPr>
                <p:nvPr/>
              </p:nvSpPr>
              <p:spPr bwMode="auto">
                <a:xfrm>
                  <a:off x="7093164" y="4739053"/>
                  <a:ext cx="50434" cy="32385"/>
                </a:xfrm>
                <a:custGeom>
                  <a:avLst/>
                  <a:gdLst/>
                  <a:ahLst/>
                  <a:cxnLst>
                    <a:cxn ang="0">
                      <a:pos x="0" y="70"/>
                    </a:cxn>
                    <a:cxn ang="0">
                      <a:pos x="92" y="0"/>
                    </a:cxn>
                  </a:cxnLst>
                  <a:rect l="0" t="0" r="r" b="b"/>
                  <a:pathLst>
                    <a:path w="92" h="70">
                      <a:moveTo>
                        <a:pt x="0" y="70"/>
                      </a:moveTo>
                      <a:lnTo>
                        <a:pt x="92" y="0"/>
                      </a:lnTo>
                    </a:path>
                  </a:pathLst>
                </a:custGeom>
                <a:noFill/>
                <a:ln w="28575" cap="flat" cmpd="sng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7" name="Freeform 50"/>
                <p:cNvSpPr>
                  <a:spLocks noChangeAspect="1"/>
                </p:cNvSpPr>
                <p:nvPr/>
              </p:nvSpPr>
              <p:spPr bwMode="auto">
                <a:xfrm>
                  <a:off x="7439616" y="4898954"/>
                  <a:ext cx="57742" cy="2024"/>
                </a:xfrm>
                <a:custGeom>
                  <a:avLst/>
                  <a:gdLst/>
                  <a:ahLst/>
                  <a:cxnLst>
                    <a:cxn ang="0">
                      <a:pos x="0" y="4"/>
                    </a:cxn>
                    <a:cxn ang="0">
                      <a:pos x="107" y="0"/>
                    </a:cxn>
                  </a:cxnLst>
                  <a:rect l="0" t="0" r="r" b="b"/>
                  <a:pathLst>
                    <a:path w="107" h="4">
                      <a:moveTo>
                        <a:pt x="0" y="4"/>
                      </a:moveTo>
                      <a:lnTo>
                        <a:pt x="107" y="0"/>
                      </a:lnTo>
                    </a:path>
                  </a:pathLst>
                </a:custGeom>
                <a:noFill/>
                <a:ln w="28575" cap="flat" cmpd="sng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09" name="Freeform 51"/>
                <p:cNvSpPr>
                  <a:spLocks noChangeAspect="1"/>
                </p:cNvSpPr>
                <p:nvPr/>
              </p:nvSpPr>
              <p:spPr bwMode="auto">
                <a:xfrm>
                  <a:off x="7167718" y="4690475"/>
                  <a:ext cx="551108" cy="38457"/>
                </a:xfrm>
                <a:custGeom>
                  <a:avLst/>
                  <a:gdLst/>
                  <a:ahLst/>
                  <a:cxnLst>
                    <a:cxn ang="0">
                      <a:pos x="0" y="83"/>
                    </a:cxn>
                    <a:cxn ang="0">
                      <a:pos x="264" y="20"/>
                    </a:cxn>
                    <a:cxn ang="0">
                      <a:pos x="555" y="2"/>
                    </a:cxn>
                    <a:cxn ang="0">
                      <a:pos x="882" y="35"/>
                    </a:cxn>
                    <a:cxn ang="0">
                      <a:pos x="1011" y="68"/>
                    </a:cxn>
                  </a:cxnLst>
                  <a:rect l="0" t="0" r="r" b="b"/>
                  <a:pathLst>
                    <a:path w="1011" h="83">
                      <a:moveTo>
                        <a:pt x="0" y="83"/>
                      </a:moveTo>
                      <a:cubicBezTo>
                        <a:pt x="86" y="58"/>
                        <a:pt x="172" y="33"/>
                        <a:pt x="264" y="20"/>
                      </a:cubicBezTo>
                      <a:cubicBezTo>
                        <a:pt x="356" y="7"/>
                        <a:pt x="452" y="0"/>
                        <a:pt x="555" y="2"/>
                      </a:cubicBezTo>
                      <a:cubicBezTo>
                        <a:pt x="658" y="4"/>
                        <a:pt x="806" y="24"/>
                        <a:pt x="882" y="35"/>
                      </a:cubicBezTo>
                      <a:cubicBezTo>
                        <a:pt x="958" y="46"/>
                        <a:pt x="990" y="62"/>
                        <a:pt x="1011" y="68"/>
                      </a:cubicBezTo>
                    </a:path>
                  </a:pathLst>
                </a:custGeom>
                <a:noFill/>
                <a:ln w="28575" cap="flat" cmpd="sng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11" name="Line 52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526709" y="4894906"/>
                  <a:ext cx="72360" cy="4049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12" name="Line 53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536211" y="4915146"/>
                  <a:ext cx="65051" cy="31710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13" name="Line 54"/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6632691" y="4952254"/>
                  <a:ext cx="84055" cy="51276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14" name="Line 55"/>
                <p:cNvSpPr>
                  <a:spLocks noChangeAspect="1" noChangeShapeType="1"/>
                </p:cNvSpPr>
                <p:nvPr/>
              </p:nvSpPr>
              <p:spPr bwMode="auto">
                <a:xfrm flipH="1" flipV="1">
                  <a:off x="6736480" y="4956303"/>
                  <a:ext cx="731" cy="51951"/>
                </a:xfrm>
                <a:prstGeom prst="line">
                  <a:avLst/>
                </a:pr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pic>
              <p:nvPicPr>
                <p:cNvPr id="515" name="Picture 56" descr="pc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6717477" y="4993410"/>
                  <a:ext cx="57742" cy="44530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6" name="Picture 57" descr="pc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6504781" y="4930664"/>
                  <a:ext cx="57742" cy="44530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7" name="Picture 58" descr="pc"/>
                <p:cNvPicPr>
                  <a:picLocks noChangeAspect="1"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6491625" y="4873990"/>
                  <a:ext cx="57742" cy="44530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8" name="Picture 59" descr="IP phone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6596876" y="4990037"/>
                  <a:ext cx="64320" cy="4722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9" name="Picture 60" descr="IP phone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6884124" y="4981940"/>
                  <a:ext cx="64320" cy="4722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0" name="Picture 61" descr="Catalyst6500SR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6930171" y="4813944"/>
                  <a:ext cx="57742" cy="4722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2" name="Picture 62" descr="RouterBroadbnd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7128248" y="4708693"/>
                  <a:ext cx="65051" cy="607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67" name="Picture 63" descr="RouterBroadbnd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7047117" y="4741078"/>
                  <a:ext cx="65051" cy="60722"/>
                </a:xfrm>
                <a:prstGeom prst="rect">
                  <a:avLst/>
                </a:prstGeom>
                <a:noFill/>
              </p:spPr>
            </p:pic>
            <p:sp>
              <p:nvSpPr>
                <p:cNvPr id="568" name="Arc 64"/>
                <p:cNvSpPr>
                  <a:spLocks noChangeAspect="1"/>
                </p:cNvSpPr>
                <p:nvPr/>
              </p:nvSpPr>
              <p:spPr bwMode="auto">
                <a:xfrm rot="16296732" flipH="1">
                  <a:off x="7202857" y="4661296"/>
                  <a:ext cx="106601" cy="355223"/>
                </a:xfrm>
                <a:custGeom>
                  <a:avLst/>
                  <a:gdLst>
                    <a:gd name="G0" fmla="+- 281 0 0"/>
                    <a:gd name="G1" fmla="+- 21600 0 0"/>
                    <a:gd name="G2" fmla="+- 21600 0 0"/>
                    <a:gd name="T0" fmla="*/ 0 w 21881"/>
                    <a:gd name="T1" fmla="*/ 2 h 21600"/>
                    <a:gd name="T2" fmla="*/ 21881 w 21881"/>
                    <a:gd name="T3" fmla="*/ 21600 h 21600"/>
                    <a:gd name="T4" fmla="*/ 281 w 21881"/>
                    <a:gd name="T5" fmla="*/ 216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881" h="21600" fill="none" extrusionOk="0">
                      <a:moveTo>
                        <a:pt x="-1" y="1"/>
                      </a:moveTo>
                      <a:cubicBezTo>
                        <a:pt x="93" y="0"/>
                        <a:pt x="187" y="-1"/>
                        <a:pt x="281" y="0"/>
                      </a:cubicBezTo>
                      <a:cubicBezTo>
                        <a:pt x="12210" y="0"/>
                        <a:pt x="21881" y="9670"/>
                        <a:pt x="21881" y="21600"/>
                      </a:cubicBezTo>
                    </a:path>
                    <a:path w="21881" h="21600" stroke="0" extrusionOk="0">
                      <a:moveTo>
                        <a:pt x="-1" y="1"/>
                      </a:moveTo>
                      <a:cubicBezTo>
                        <a:pt x="93" y="0"/>
                        <a:pt x="187" y="-1"/>
                        <a:pt x="281" y="0"/>
                      </a:cubicBezTo>
                      <a:cubicBezTo>
                        <a:pt x="12210" y="0"/>
                        <a:pt x="21881" y="9670"/>
                        <a:pt x="21881" y="21600"/>
                      </a:cubicBezTo>
                      <a:lnTo>
                        <a:pt x="281" y="21600"/>
                      </a:lnTo>
                      <a:close/>
                    </a:path>
                  </a:pathLst>
                </a:custGeom>
                <a:noFill/>
                <a:ln w="28575">
                  <a:solidFill>
                    <a:schemeClr val="folHlink"/>
                  </a:solidFill>
                  <a:round/>
                  <a:headEnd/>
                  <a:tailEnd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pic>
              <p:nvPicPr>
                <p:cNvPr id="569" name="Picture 65" descr="RouterBroadbnd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7400147" y="4864545"/>
                  <a:ext cx="65051" cy="607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0" name="Picture 66" descr="RouterBroadbnd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7683010" y="4690475"/>
                  <a:ext cx="65051" cy="607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1" name="Picture 67" descr="RouterBroadbnd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7764142" y="4712740"/>
                  <a:ext cx="65051" cy="60722"/>
                </a:xfrm>
                <a:prstGeom prst="rect">
                  <a:avLst/>
                </a:prstGeom>
                <a:noFill/>
              </p:spPr>
            </p:pic>
            <p:sp>
              <p:nvSpPr>
                <p:cNvPr id="572" name="Freeform 68"/>
                <p:cNvSpPr>
                  <a:spLocks noChangeAspect="1"/>
                </p:cNvSpPr>
                <p:nvPr/>
              </p:nvSpPr>
              <p:spPr bwMode="auto">
                <a:xfrm>
                  <a:off x="7552177" y="4755245"/>
                  <a:ext cx="294557" cy="139660"/>
                </a:xfrm>
                <a:custGeom>
                  <a:avLst/>
                  <a:gdLst/>
                  <a:ahLst/>
                  <a:cxnLst>
                    <a:cxn ang="0">
                      <a:pos x="480" y="0"/>
                    </a:cxn>
                    <a:cxn ang="0">
                      <a:pos x="528" y="66"/>
                    </a:cxn>
                    <a:cxn ang="0">
                      <a:pos x="537" y="126"/>
                    </a:cxn>
                    <a:cxn ang="0">
                      <a:pos x="504" y="177"/>
                    </a:cxn>
                    <a:cxn ang="0">
                      <a:pos x="438" y="216"/>
                    </a:cxn>
                    <a:cxn ang="0">
                      <a:pos x="339" y="249"/>
                    </a:cxn>
                    <a:cxn ang="0">
                      <a:pos x="213" y="276"/>
                    </a:cxn>
                    <a:cxn ang="0">
                      <a:pos x="51" y="297"/>
                    </a:cxn>
                    <a:cxn ang="0">
                      <a:pos x="0" y="300"/>
                    </a:cxn>
                  </a:cxnLst>
                  <a:rect l="0" t="0" r="r" b="b"/>
                  <a:pathLst>
                    <a:path w="541" h="301">
                      <a:moveTo>
                        <a:pt x="480" y="0"/>
                      </a:moveTo>
                      <a:cubicBezTo>
                        <a:pt x="500" y="22"/>
                        <a:pt x="519" y="45"/>
                        <a:pt x="528" y="66"/>
                      </a:cubicBezTo>
                      <a:cubicBezTo>
                        <a:pt x="537" y="87"/>
                        <a:pt x="541" y="108"/>
                        <a:pt x="537" y="126"/>
                      </a:cubicBezTo>
                      <a:cubicBezTo>
                        <a:pt x="533" y="144"/>
                        <a:pt x="520" y="162"/>
                        <a:pt x="504" y="177"/>
                      </a:cubicBezTo>
                      <a:cubicBezTo>
                        <a:pt x="488" y="192"/>
                        <a:pt x="465" y="204"/>
                        <a:pt x="438" y="216"/>
                      </a:cubicBezTo>
                      <a:cubicBezTo>
                        <a:pt x="411" y="228"/>
                        <a:pt x="376" y="239"/>
                        <a:pt x="339" y="249"/>
                      </a:cubicBezTo>
                      <a:cubicBezTo>
                        <a:pt x="302" y="259"/>
                        <a:pt x="261" y="268"/>
                        <a:pt x="213" y="276"/>
                      </a:cubicBezTo>
                      <a:cubicBezTo>
                        <a:pt x="165" y="284"/>
                        <a:pt x="86" y="293"/>
                        <a:pt x="51" y="297"/>
                      </a:cubicBezTo>
                      <a:cubicBezTo>
                        <a:pt x="16" y="301"/>
                        <a:pt x="11" y="300"/>
                        <a:pt x="0" y="300"/>
                      </a:cubicBezTo>
                    </a:path>
                  </a:pathLst>
                </a:custGeom>
                <a:noFill/>
                <a:ln w="28575" cap="flat" cmpd="sng">
                  <a:solidFill>
                    <a:schemeClr val="folHlink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pic>
              <p:nvPicPr>
                <p:cNvPr id="573" name="Picture 69" descr="RouterBroadbnd"/>
                <p:cNvPicPr>
                  <a:picLocks noChangeAspect="1"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7487856" y="4864545"/>
                  <a:ext cx="65051" cy="607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4" name="Picture 71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63209" y="4888157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5" name="Picture 72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54110" y="4895399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6" name="Picture 73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45011" y="4902641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7" name="Picture 74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36391" y="4909431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8" name="Picture 75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27292" y="4916673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9" name="Picture 76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16756" y="4923916"/>
                  <a:ext cx="36875" cy="35759"/>
                </a:xfrm>
                <a:prstGeom prst="rect">
                  <a:avLst/>
                </a:prstGeom>
                <a:noFill/>
              </p:spPr>
            </p:pic>
            <p:sp>
              <p:nvSpPr>
                <p:cNvPr id="580" name="Freeform 77"/>
                <p:cNvSpPr>
                  <a:spLocks noChangeAspect="1"/>
                </p:cNvSpPr>
                <p:nvPr/>
              </p:nvSpPr>
              <p:spPr bwMode="auto">
                <a:xfrm>
                  <a:off x="6674352" y="4806522"/>
                  <a:ext cx="46047" cy="52626"/>
                </a:xfrm>
                <a:custGeom>
                  <a:avLst/>
                  <a:gdLst/>
                  <a:ahLst/>
                  <a:cxnLst>
                    <a:cxn ang="0">
                      <a:pos x="0" y="225"/>
                    </a:cxn>
                    <a:cxn ang="0">
                      <a:pos x="168" y="0"/>
                    </a:cxn>
                  </a:cxnLst>
                  <a:rect l="0" t="0" r="r" b="b"/>
                  <a:pathLst>
                    <a:path w="168" h="225">
                      <a:moveTo>
                        <a:pt x="0" y="225"/>
                      </a:moveTo>
                      <a:lnTo>
                        <a:pt x="168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81" name="Freeform 78"/>
                <p:cNvSpPr>
                  <a:spLocks noChangeAspect="1"/>
                </p:cNvSpPr>
                <p:nvPr/>
              </p:nvSpPr>
              <p:spPr bwMode="auto">
                <a:xfrm>
                  <a:off x="6660466" y="4814618"/>
                  <a:ext cx="45317" cy="52626"/>
                </a:xfrm>
                <a:custGeom>
                  <a:avLst/>
                  <a:gdLst/>
                  <a:ahLst/>
                  <a:cxnLst>
                    <a:cxn ang="0">
                      <a:pos x="0" y="225"/>
                    </a:cxn>
                    <a:cxn ang="0">
                      <a:pos x="168" y="0"/>
                    </a:cxn>
                  </a:cxnLst>
                  <a:rect l="0" t="0" r="r" b="b"/>
                  <a:pathLst>
                    <a:path w="168" h="225">
                      <a:moveTo>
                        <a:pt x="0" y="225"/>
                      </a:moveTo>
                      <a:lnTo>
                        <a:pt x="168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82" name="Freeform 79"/>
                <p:cNvSpPr>
                  <a:spLocks noChangeAspect="1"/>
                </p:cNvSpPr>
                <p:nvPr/>
              </p:nvSpPr>
              <p:spPr bwMode="auto">
                <a:xfrm>
                  <a:off x="6686778" y="4799775"/>
                  <a:ext cx="45317" cy="52626"/>
                </a:xfrm>
                <a:custGeom>
                  <a:avLst/>
                  <a:gdLst/>
                  <a:ahLst/>
                  <a:cxnLst>
                    <a:cxn ang="0">
                      <a:pos x="0" y="225"/>
                    </a:cxn>
                    <a:cxn ang="0">
                      <a:pos x="168" y="0"/>
                    </a:cxn>
                  </a:cxnLst>
                  <a:rect l="0" t="0" r="r" b="b"/>
                  <a:pathLst>
                    <a:path w="168" h="225">
                      <a:moveTo>
                        <a:pt x="0" y="225"/>
                      </a:moveTo>
                      <a:lnTo>
                        <a:pt x="168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83" name="Freeform 80"/>
                <p:cNvSpPr>
                  <a:spLocks noChangeAspect="1"/>
                </p:cNvSpPr>
                <p:nvPr/>
              </p:nvSpPr>
              <p:spPr bwMode="auto">
                <a:xfrm>
                  <a:off x="6741596" y="4772113"/>
                  <a:ext cx="136680" cy="6747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250" y="0"/>
                    </a:cxn>
                  </a:cxnLst>
                  <a:rect l="0" t="0" r="r" b="b"/>
                  <a:pathLst>
                    <a:path w="250" h="16">
                      <a:moveTo>
                        <a:pt x="0" y="16"/>
                      </a:moveTo>
                      <a:lnTo>
                        <a:pt x="250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pic>
              <p:nvPicPr>
                <p:cNvPr id="584" name="Picture 82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12775" y="4768737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85" name="Picture 83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703676" y="4775979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86" name="Picture 84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94577" y="4783221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87" name="Picture 85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85957" y="4790011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88" name="Picture 86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76858" y="4797253"/>
                  <a:ext cx="36875" cy="357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89" name="Picture 87" descr="switch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666322" y="4804496"/>
                  <a:ext cx="36875" cy="35759"/>
                </a:xfrm>
                <a:prstGeom prst="rect">
                  <a:avLst/>
                </a:prstGeom>
                <a:noFill/>
              </p:spPr>
            </p:pic>
            <p:sp>
              <p:nvSpPr>
                <p:cNvPr id="590" name="Freeform 88"/>
                <p:cNvSpPr>
                  <a:spLocks noChangeAspect="1"/>
                </p:cNvSpPr>
                <p:nvPr/>
              </p:nvSpPr>
              <p:spPr bwMode="auto">
                <a:xfrm>
                  <a:off x="6736480" y="4776161"/>
                  <a:ext cx="143259" cy="10795"/>
                </a:xfrm>
                <a:custGeom>
                  <a:avLst/>
                  <a:gdLst/>
                  <a:ahLst/>
                  <a:cxnLst>
                    <a:cxn ang="0">
                      <a:pos x="0" y="23"/>
                    </a:cxn>
                    <a:cxn ang="0">
                      <a:pos x="263" y="0"/>
                    </a:cxn>
                  </a:cxnLst>
                  <a:rect l="0" t="0" r="r" b="b"/>
                  <a:pathLst>
                    <a:path w="263" h="23">
                      <a:moveTo>
                        <a:pt x="0" y="23"/>
                      </a:moveTo>
                      <a:lnTo>
                        <a:pt x="263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91" name="Freeform 89"/>
                <p:cNvSpPr>
                  <a:spLocks noChangeAspect="1"/>
                </p:cNvSpPr>
                <p:nvPr/>
              </p:nvSpPr>
              <p:spPr bwMode="auto">
                <a:xfrm>
                  <a:off x="6690433" y="4796401"/>
                  <a:ext cx="192229" cy="29686"/>
                </a:xfrm>
                <a:custGeom>
                  <a:avLst/>
                  <a:gdLst/>
                  <a:ahLst/>
                  <a:cxnLst>
                    <a:cxn ang="0">
                      <a:pos x="0" y="62"/>
                    </a:cxn>
                    <a:cxn ang="0">
                      <a:pos x="352" y="0"/>
                    </a:cxn>
                  </a:cxnLst>
                  <a:rect l="0" t="0" r="r" b="b"/>
                  <a:pathLst>
                    <a:path w="352" h="62">
                      <a:moveTo>
                        <a:pt x="0" y="62"/>
                      </a:moveTo>
                      <a:lnTo>
                        <a:pt x="352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92" name="Freeform 90"/>
                <p:cNvSpPr>
                  <a:spLocks noChangeAspect="1"/>
                </p:cNvSpPr>
                <p:nvPr/>
              </p:nvSpPr>
              <p:spPr bwMode="auto">
                <a:xfrm>
                  <a:off x="6728440" y="4781559"/>
                  <a:ext cx="152761" cy="14169"/>
                </a:xfrm>
                <a:custGeom>
                  <a:avLst/>
                  <a:gdLst/>
                  <a:ahLst/>
                  <a:cxnLst>
                    <a:cxn ang="0">
                      <a:pos x="0" y="29"/>
                    </a:cxn>
                    <a:cxn ang="0">
                      <a:pos x="280" y="0"/>
                    </a:cxn>
                  </a:cxnLst>
                  <a:rect l="0" t="0" r="r" b="b"/>
                  <a:pathLst>
                    <a:path w="280" h="29">
                      <a:moveTo>
                        <a:pt x="0" y="29"/>
                      </a:moveTo>
                      <a:lnTo>
                        <a:pt x="280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593" name="Freeform 91"/>
                <p:cNvSpPr>
                  <a:spLocks noChangeAspect="1"/>
                </p:cNvSpPr>
                <p:nvPr/>
              </p:nvSpPr>
              <p:spPr bwMode="auto">
                <a:xfrm>
                  <a:off x="6707974" y="4792354"/>
                  <a:ext cx="175419" cy="19566"/>
                </a:xfrm>
                <a:custGeom>
                  <a:avLst/>
                  <a:gdLst/>
                  <a:ahLst/>
                  <a:cxnLst>
                    <a:cxn ang="0">
                      <a:pos x="323" y="0"/>
                    </a:cxn>
                    <a:cxn ang="0">
                      <a:pos x="0" y="43"/>
                    </a:cxn>
                  </a:cxnLst>
                  <a:rect l="0" t="0" r="r" b="b"/>
                  <a:pathLst>
                    <a:path w="323" h="43">
                      <a:moveTo>
                        <a:pt x="323" y="0"/>
                      </a:moveTo>
                      <a:lnTo>
                        <a:pt x="0" y="43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pic>
              <p:nvPicPr>
                <p:cNvPr id="594" name="Picture 92" descr="Catalyst6500SR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6866583" y="4759294"/>
                  <a:ext cx="57742" cy="47229"/>
                </a:xfrm>
                <a:prstGeom prst="rect">
                  <a:avLst/>
                </a:prstGeom>
                <a:noFill/>
              </p:spPr>
            </p:pic>
            <p:sp>
              <p:nvSpPr>
                <p:cNvPr id="595" name="Freeform 93"/>
                <p:cNvSpPr>
                  <a:spLocks noChangeAspect="1"/>
                </p:cNvSpPr>
                <p:nvPr/>
              </p:nvSpPr>
              <p:spPr bwMode="auto">
                <a:xfrm>
                  <a:off x="6717477" y="4787630"/>
                  <a:ext cx="162263" cy="16192"/>
                </a:xfrm>
                <a:custGeom>
                  <a:avLst/>
                  <a:gdLst/>
                  <a:ahLst/>
                  <a:cxnLst>
                    <a:cxn ang="0">
                      <a:pos x="0" y="35"/>
                    </a:cxn>
                    <a:cxn ang="0">
                      <a:pos x="299" y="0"/>
                    </a:cxn>
                  </a:cxnLst>
                  <a:rect l="0" t="0" r="r" b="b"/>
                  <a:pathLst>
                    <a:path w="299" h="35">
                      <a:moveTo>
                        <a:pt x="0" y="35"/>
                      </a:moveTo>
                      <a:lnTo>
                        <a:pt x="299" y="0"/>
                      </a:lnTo>
                    </a:path>
                  </a:pathLst>
                </a:custGeom>
                <a:noFill/>
                <a:ln w="9525">
                  <a:solidFill>
                    <a:srgbClr val="F6AC28"/>
                  </a:solidFill>
                  <a:round/>
                  <a:headEnd/>
                  <a:tailEnd/>
                </a:ln>
                <a:effectLst/>
              </p:spPr>
              <p:txBody>
                <a:bodyPr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</p:grpSp>
          <p:sp>
            <p:nvSpPr>
              <p:cNvPr id="396" name="Line 94"/>
              <p:cNvSpPr>
                <a:spLocks noChangeShapeType="1"/>
              </p:cNvSpPr>
              <p:nvPr/>
            </p:nvSpPr>
            <p:spPr bwMode="auto">
              <a:xfrm flipH="1" flipV="1">
                <a:off x="7724672" y="5458944"/>
                <a:ext cx="169571" cy="275272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397" name="Line 99"/>
              <p:cNvSpPr>
                <a:spLocks noChangeShapeType="1"/>
              </p:cNvSpPr>
              <p:nvPr/>
            </p:nvSpPr>
            <p:spPr bwMode="auto">
              <a:xfrm flipV="1">
                <a:off x="7837963" y="5777396"/>
                <a:ext cx="63590" cy="122794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398" name="Rectangle 102"/>
              <p:cNvSpPr>
                <a:spLocks noChangeArrowheads="1"/>
              </p:cNvSpPr>
              <p:nvPr/>
            </p:nvSpPr>
            <p:spPr bwMode="auto">
              <a:xfrm>
                <a:off x="7566795" y="5673495"/>
                <a:ext cx="271169" cy="168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endParaRPr lang="en-GB" sz="800" dirty="0">
                  <a:latin typeface="+mn-lt"/>
                </a:endParaRPr>
              </a:p>
            </p:txBody>
          </p:sp>
          <p:sp>
            <p:nvSpPr>
              <p:cNvPr id="399" name="Freeform 105"/>
              <p:cNvSpPr>
                <a:spLocks noChangeAspect="1"/>
              </p:cNvSpPr>
              <p:nvPr/>
            </p:nvSpPr>
            <p:spPr bwMode="gray">
              <a:xfrm>
                <a:off x="8192455" y="5043337"/>
                <a:ext cx="485325" cy="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64" y="0"/>
                  </a:cxn>
                </a:cxnLst>
                <a:rect l="0" t="0" r="r" b="b"/>
                <a:pathLst>
                  <a:path w="664" h="1">
                    <a:moveTo>
                      <a:pt x="0" y="0"/>
                    </a:moveTo>
                    <a:lnTo>
                      <a:pt x="664" y="0"/>
                    </a:lnTo>
                  </a:path>
                </a:pathLst>
              </a:custGeom>
              <a:noFill/>
              <a:ln w="28575" cmpd="sng">
                <a:solidFill>
                  <a:srgbClr val="FF0000"/>
                </a:solidFill>
                <a:round/>
                <a:headEnd/>
                <a:tailEnd type="triangle" w="med" len="med"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400" name="Picture 108" descr="voicerouter"/>
              <p:cNvPicPr preferRelativeResize="0"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7794839" y="5648531"/>
                <a:ext cx="231699" cy="16192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01" name="Picture 111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7737829" y="5890744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402" name="Rectangle 112"/>
              <p:cNvSpPr>
                <a:spLocks noChangeArrowheads="1"/>
              </p:cNvSpPr>
              <p:nvPr/>
            </p:nvSpPr>
            <p:spPr bwMode="auto">
              <a:xfrm>
                <a:off x="7794838" y="5306465"/>
                <a:ext cx="466120" cy="1659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None/>
                </a:pPr>
                <a:r>
                  <a:rPr lang="en-US" sz="500" dirty="0"/>
                  <a:t>CSCF</a:t>
                </a:r>
                <a:endParaRPr lang="en-GB" sz="500" dirty="0"/>
              </a:p>
            </p:txBody>
          </p:sp>
          <p:sp>
            <p:nvSpPr>
              <p:cNvPr id="403" name="Rectangle 126"/>
              <p:cNvSpPr>
                <a:spLocks noChangeArrowheads="1"/>
              </p:cNvSpPr>
              <p:nvPr/>
            </p:nvSpPr>
            <p:spPr bwMode="auto">
              <a:xfrm>
                <a:off x="7411112" y="4444214"/>
                <a:ext cx="453165" cy="1106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noAutofit/>
              </a:bodyPr>
              <a:lstStyle/>
              <a:p>
                <a:pPr algn="ctr">
                  <a:spcBef>
                    <a:spcPts val="0"/>
                  </a:spcBef>
                  <a:buClrTx/>
                  <a:buSzTx/>
                  <a:buNone/>
                </a:pPr>
                <a:r>
                  <a:rPr lang="it-IT" sz="600" dirty="0">
                    <a:latin typeface="+mn-lt"/>
                  </a:rPr>
                  <a:t>IP Centrex </a:t>
                </a:r>
                <a:r>
                  <a:rPr lang="en-US" sz="600" dirty="0">
                    <a:latin typeface="+mn-lt"/>
                  </a:rPr>
                  <a:t>®</a:t>
                </a:r>
              </a:p>
            </p:txBody>
          </p:sp>
          <p:sp>
            <p:nvSpPr>
              <p:cNvPr id="404" name="Freeform 127"/>
              <p:cNvSpPr>
                <a:spLocks/>
              </p:cNvSpPr>
              <p:nvPr/>
            </p:nvSpPr>
            <p:spPr bwMode="auto">
              <a:xfrm>
                <a:off x="6410158" y="4988490"/>
                <a:ext cx="685837" cy="254479"/>
              </a:xfrm>
              <a:custGeom>
                <a:avLst/>
                <a:gdLst/>
                <a:ahLst/>
                <a:cxnLst>
                  <a:cxn ang="0">
                    <a:pos x="0" y="328"/>
                  </a:cxn>
                  <a:cxn ang="0">
                    <a:pos x="568" y="0"/>
                  </a:cxn>
                </a:cxnLst>
                <a:rect l="0" t="0" r="r" b="b"/>
                <a:pathLst>
                  <a:path w="568" h="328">
                    <a:moveTo>
                      <a:pt x="0" y="328"/>
                    </a:moveTo>
                    <a:lnTo>
                      <a:pt x="568" y="0"/>
                    </a:lnTo>
                  </a:path>
                </a:pathLst>
              </a:custGeom>
              <a:noFill/>
              <a:ln w="9525" cap="flat" cmpd="sng">
                <a:solidFill>
                  <a:srgbClr val="0066FF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05" name="Freeform 128"/>
              <p:cNvSpPr>
                <a:spLocks/>
              </p:cNvSpPr>
              <p:nvPr/>
            </p:nvSpPr>
            <p:spPr bwMode="auto">
              <a:xfrm>
                <a:off x="7305805" y="5016674"/>
                <a:ext cx="360124" cy="26930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32" y="328"/>
                  </a:cxn>
                </a:cxnLst>
                <a:rect l="0" t="0" r="r" b="b"/>
                <a:pathLst>
                  <a:path w="432" h="328">
                    <a:moveTo>
                      <a:pt x="0" y="0"/>
                    </a:moveTo>
                    <a:lnTo>
                      <a:pt x="432" y="328"/>
                    </a:lnTo>
                  </a:path>
                </a:pathLst>
              </a:custGeom>
              <a:noFill/>
              <a:ln w="9525" cap="flat" cmpd="sng">
                <a:solidFill>
                  <a:srgbClr val="0066FF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06" name="Freeform 129"/>
              <p:cNvSpPr>
                <a:spLocks/>
              </p:cNvSpPr>
              <p:nvPr/>
            </p:nvSpPr>
            <p:spPr bwMode="auto">
              <a:xfrm>
                <a:off x="7327726" y="4970630"/>
                <a:ext cx="934897" cy="4571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00" y="24"/>
                  </a:cxn>
                </a:cxnLst>
                <a:rect l="0" t="0" r="r" b="b"/>
                <a:pathLst>
                  <a:path w="1200" h="24">
                    <a:moveTo>
                      <a:pt x="0" y="0"/>
                    </a:moveTo>
                    <a:lnTo>
                      <a:pt x="1200" y="24"/>
                    </a:lnTo>
                  </a:path>
                </a:pathLst>
              </a:custGeom>
              <a:noFill/>
              <a:ln w="9525" cap="flat" cmpd="sng">
                <a:solidFill>
                  <a:srgbClr val="0066FF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07" name="Rectangle 131"/>
              <p:cNvSpPr>
                <a:spLocks noChangeArrowheads="1"/>
              </p:cNvSpPr>
              <p:nvPr/>
            </p:nvSpPr>
            <p:spPr bwMode="auto">
              <a:xfrm>
                <a:off x="7495942" y="5673495"/>
                <a:ext cx="342021" cy="168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Tx/>
                  <a:buSzTx/>
                  <a:buNone/>
                </a:pPr>
                <a:r>
                  <a:rPr lang="en-US" sz="500" dirty="0"/>
                  <a:t>SIP GW</a:t>
                </a:r>
                <a:endParaRPr lang="en-GB" sz="500" dirty="0"/>
              </a:p>
            </p:txBody>
          </p:sp>
          <p:pic>
            <p:nvPicPr>
              <p:cNvPr id="408" name="Picture 133" descr="virtual switch controller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8274317" y="4907725"/>
                <a:ext cx="286517" cy="29753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409" name="Rectangle 138"/>
              <p:cNvSpPr>
                <a:spLocks noChangeArrowheads="1"/>
              </p:cNvSpPr>
              <p:nvPr/>
            </p:nvSpPr>
            <p:spPr bwMode="auto">
              <a:xfrm>
                <a:off x="6667775" y="4444214"/>
                <a:ext cx="184921" cy="1106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noAutofit/>
              </a:bodyPr>
              <a:lstStyle/>
              <a:p>
                <a:pPr algn="ctr">
                  <a:spcBef>
                    <a:spcPts val="0"/>
                  </a:spcBef>
                  <a:buClrTx/>
                  <a:buSzTx/>
                  <a:buNone/>
                </a:pPr>
                <a:r>
                  <a:rPr lang="it-IT" sz="600" dirty="0">
                    <a:latin typeface="+mn-lt"/>
                  </a:rPr>
                  <a:t>UM</a:t>
                </a:r>
                <a:endParaRPr lang="en-GB" sz="600" dirty="0">
                  <a:latin typeface="+mn-lt"/>
                </a:endParaRPr>
              </a:p>
            </p:txBody>
          </p:sp>
          <p:sp>
            <p:nvSpPr>
              <p:cNvPr id="410" name="Rectangle 144"/>
              <p:cNvSpPr>
                <a:spLocks noChangeArrowheads="1"/>
              </p:cNvSpPr>
              <p:nvPr/>
            </p:nvSpPr>
            <p:spPr bwMode="auto">
              <a:xfrm>
                <a:off x="6169293" y="4451637"/>
                <a:ext cx="356685" cy="1106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noAutofit/>
              </a:bodyPr>
              <a:lstStyle/>
              <a:p>
                <a:pPr algn="ctr">
                  <a:spcBef>
                    <a:spcPts val="0"/>
                  </a:spcBef>
                  <a:buClrTx/>
                  <a:buSzTx/>
                  <a:buNone/>
                </a:pPr>
                <a:r>
                  <a:rPr lang="it-IT" sz="600" dirty="0">
                    <a:latin typeface="+mn-lt"/>
                  </a:rPr>
                  <a:t>Presence</a:t>
                </a:r>
                <a:endParaRPr lang="en-GB" sz="600" dirty="0">
                  <a:latin typeface="+mn-lt"/>
                </a:endParaRPr>
              </a:p>
            </p:txBody>
          </p:sp>
          <p:sp>
            <p:nvSpPr>
              <p:cNvPr id="411" name="Rectangle 150"/>
              <p:cNvSpPr>
                <a:spLocks noChangeArrowheads="1"/>
              </p:cNvSpPr>
              <p:nvPr/>
            </p:nvSpPr>
            <p:spPr bwMode="auto">
              <a:xfrm>
                <a:off x="7927137" y="4451636"/>
                <a:ext cx="224390" cy="1106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noAutofit/>
              </a:bodyPr>
              <a:lstStyle/>
              <a:p>
                <a:pPr algn="ctr">
                  <a:spcBef>
                    <a:spcPts val="0"/>
                  </a:spcBef>
                  <a:buClrTx/>
                  <a:buSzTx/>
                  <a:buNone/>
                </a:pPr>
                <a:r>
                  <a:rPr lang="en-GB" sz="600" dirty="0">
                    <a:latin typeface="+mn-lt"/>
                  </a:rPr>
                  <a:t>FMC</a:t>
                </a:r>
              </a:p>
            </p:txBody>
          </p:sp>
          <p:sp>
            <p:nvSpPr>
              <p:cNvPr id="412" name="Arc 153"/>
              <p:cNvSpPr>
                <a:spLocks/>
              </p:cNvSpPr>
              <p:nvPr/>
            </p:nvSpPr>
            <p:spPr bwMode="auto">
              <a:xfrm rot="3125254">
                <a:off x="8011080" y="5770382"/>
                <a:ext cx="51164" cy="85686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293"/>
                  <a:gd name="T1" fmla="*/ 0 h 21600"/>
                  <a:gd name="T2" fmla="*/ 21293 w 21293"/>
                  <a:gd name="T3" fmla="*/ 17970 h 21600"/>
                  <a:gd name="T4" fmla="*/ 0 w 21293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293" h="21600" fill="none" extrusionOk="0">
                    <a:moveTo>
                      <a:pt x="-1" y="0"/>
                    </a:moveTo>
                    <a:cubicBezTo>
                      <a:pt x="10528" y="0"/>
                      <a:pt x="19523" y="7591"/>
                      <a:pt x="21292" y="17970"/>
                    </a:cubicBezTo>
                  </a:path>
                  <a:path w="21293" h="21600" stroke="0" extrusionOk="0">
                    <a:moveTo>
                      <a:pt x="-1" y="0"/>
                    </a:moveTo>
                    <a:cubicBezTo>
                      <a:pt x="10528" y="0"/>
                      <a:pt x="19523" y="7591"/>
                      <a:pt x="21292" y="1797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13" name="Arc 154"/>
              <p:cNvSpPr>
                <a:spLocks noChangeAspect="1"/>
              </p:cNvSpPr>
              <p:nvPr/>
            </p:nvSpPr>
            <p:spPr bwMode="auto">
              <a:xfrm rot="3125254">
                <a:off x="8021089" y="5755872"/>
                <a:ext cx="76746" cy="128191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365"/>
                  <a:gd name="T1" fmla="*/ 0 h 21600"/>
                  <a:gd name="T2" fmla="*/ 21365 w 21365"/>
                  <a:gd name="T3" fmla="*/ 18426 h 21600"/>
                  <a:gd name="T4" fmla="*/ 0 w 21365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365" h="21600" fill="none" extrusionOk="0">
                    <a:moveTo>
                      <a:pt x="-1" y="0"/>
                    </a:moveTo>
                    <a:cubicBezTo>
                      <a:pt x="10703" y="0"/>
                      <a:pt x="19792" y="7838"/>
                      <a:pt x="21365" y="18425"/>
                    </a:cubicBezTo>
                  </a:path>
                  <a:path w="21365" h="21600" stroke="0" extrusionOk="0">
                    <a:moveTo>
                      <a:pt x="-1" y="0"/>
                    </a:moveTo>
                    <a:cubicBezTo>
                      <a:pt x="10703" y="0"/>
                      <a:pt x="19792" y="7838"/>
                      <a:pt x="21365" y="18425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14" name="Arc 155"/>
              <p:cNvSpPr>
                <a:spLocks noChangeAspect="1"/>
              </p:cNvSpPr>
              <p:nvPr/>
            </p:nvSpPr>
            <p:spPr bwMode="auto">
              <a:xfrm rot="3125254">
                <a:off x="8042836" y="5747755"/>
                <a:ext cx="97942" cy="159902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577"/>
                  <a:gd name="T1" fmla="*/ 0 h 21600"/>
                  <a:gd name="T2" fmla="*/ 21577 w 21577"/>
                  <a:gd name="T3" fmla="*/ 20612 h 21600"/>
                  <a:gd name="T4" fmla="*/ 0 w 21577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577" h="21600" fill="none" extrusionOk="0">
                    <a:moveTo>
                      <a:pt x="-1" y="0"/>
                    </a:moveTo>
                    <a:cubicBezTo>
                      <a:pt x="11545" y="0"/>
                      <a:pt x="21049" y="9078"/>
                      <a:pt x="21577" y="20611"/>
                    </a:cubicBezTo>
                  </a:path>
                  <a:path w="21577" h="21600" stroke="0" extrusionOk="0">
                    <a:moveTo>
                      <a:pt x="-1" y="0"/>
                    </a:moveTo>
                    <a:cubicBezTo>
                      <a:pt x="11545" y="0"/>
                      <a:pt x="21049" y="9078"/>
                      <a:pt x="21577" y="20611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415" name="Picture 156" descr="cellphone"/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 rot="1080257">
                <a:off x="8175633" y="5774039"/>
                <a:ext cx="94287" cy="25368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416" name="Arc 159"/>
              <p:cNvSpPr>
                <a:spLocks/>
              </p:cNvSpPr>
              <p:nvPr/>
            </p:nvSpPr>
            <p:spPr bwMode="auto">
              <a:xfrm rot="3125254">
                <a:off x="6870915" y="5818436"/>
                <a:ext cx="51164" cy="85686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293"/>
                  <a:gd name="T1" fmla="*/ 0 h 21600"/>
                  <a:gd name="T2" fmla="*/ 21293 w 21293"/>
                  <a:gd name="T3" fmla="*/ 17970 h 21600"/>
                  <a:gd name="T4" fmla="*/ 0 w 21293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293" h="21600" fill="none" extrusionOk="0">
                    <a:moveTo>
                      <a:pt x="-1" y="0"/>
                    </a:moveTo>
                    <a:cubicBezTo>
                      <a:pt x="10528" y="0"/>
                      <a:pt x="19523" y="7591"/>
                      <a:pt x="21292" y="17970"/>
                    </a:cubicBezTo>
                  </a:path>
                  <a:path w="21293" h="21600" stroke="0" extrusionOk="0">
                    <a:moveTo>
                      <a:pt x="-1" y="0"/>
                    </a:moveTo>
                    <a:cubicBezTo>
                      <a:pt x="10528" y="0"/>
                      <a:pt x="19523" y="7591"/>
                      <a:pt x="21292" y="1797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17" name="Arc 160"/>
              <p:cNvSpPr>
                <a:spLocks noChangeAspect="1"/>
              </p:cNvSpPr>
              <p:nvPr/>
            </p:nvSpPr>
            <p:spPr bwMode="auto">
              <a:xfrm rot="3125254">
                <a:off x="6880924" y="5803926"/>
                <a:ext cx="76746" cy="128191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365"/>
                  <a:gd name="T1" fmla="*/ 0 h 21600"/>
                  <a:gd name="T2" fmla="*/ 21365 w 21365"/>
                  <a:gd name="T3" fmla="*/ 18426 h 21600"/>
                  <a:gd name="T4" fmla="*/ 0 w 21365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365" h="21600" fill="none" extrusionOk="0">
                    <a:moveTo>
                      <a:pt x="-1" y="0"/>
                    </a:moveTo>
                    <a:cubicBezTo>
                      <a:pt x="10703" y="0"/>
                      <a:pt x="19792" y="7838"/>
                      <a:pt x="21365" y="18425"/>
                    </a:cubicBezTo>
                  </a:path>
                  <a:path w="21365" h="21600" stroke="0" extrusionOk="0">
                    <a:moveTo>
                      <a:pt x="-1" y="0"/>
                    </a:moveTo>
                    <a:cubicBezTo>
                      <a:pt x="10703" y="0"/>
                      <a:pt x="19792" y="7838"/>
                      <a:pt x="21365" y="18425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18" name="Arc 161"/>
              <p:cNvSpPr>
                <a:spLocks noChangeAspect="1"/>
              </p:cNvSpPr>
              <p:nvPr/>
            </p:nvSpPr>
            <p:spPr bwMode="auto">
              <a:xfrm rot="3125254">
                <a:off x="6902671" y="5795809"/>
                <a:ext cx="97942" cy="159902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577"/>
                  <a:gd name="T1" fmla="*/ 0 h 21600"/>
                  <a:gd name="T2" fmla="*/ 21577 w 21577"/>
                  <a:gd name="T3" fmla="*/ 20612 h 21600"/>
                  <a:gd name="T4" fmla="*/ 0 w 21577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577" h="21600" fill="none" extrusionOk="0">
                    <a:moveTo>
                      <a:pt x="-1" y="0"/>
                    </a:moveTo>
                    <a:cubicBezTo>
                      <a:pt x="11545" y="0"/>
                      <a:pt x="21049" y="9078"/>
                      <a:pt x="21577" y="20611"/>
                    </a:cubicBezTo>
                  </a:path>
                  <a:path w="21577" h="21600" stroke="0" extrusionOk="0">
                    <a:moveTo>
                      <a:pt x="-1" y="0"/>
                    </a:moveTo>
                    <a:cubicBezTo>
                      <a:pt x="11545" y="0"/>
                      <a:pt x="21049" y="9078"/>
                      <a:pt x="21577" y="20611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419" name="Picture 162" descr="cellphone"/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 rot="1080257">
                <a:off x="7035468" y="5822093"/>
                <a:ext cx="94287" cy="25368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20" name="Picture 175" descr="SIPproxysrvr"/>
              <p:cNvPicPr>
                <a:picLocks noChangeAspect="1" noChangeArrowheads="1"/>
              </p:cNvPicPr>
              <p:nvPr/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7645003" y="5309839"/>
                <a:ext cx="220004" cy="306308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21" name="Picture 3" descr="Callmgr"/>
              <p:cNvPicPr>
                <a:picLocks noChangeAspect="1"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auto">
              <a:xfrm>
                <a:off x="5622925" y="5144273"/>
                <a:ext cx="309175" cy="199033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422" name="Line 95"/>
              <p:cNvSpPr>
                <a:spLocks noChangeShapeType="1"/>
              </p:cNvSpPr>
              <p:nvPr/>
            </p:nvSpPr>
            <p:spPr bwMode="auto">
              <a:xfrm flipV="1">
                <a:off x="6748147" y="5606665"/>
                <a:ext cx="0" cy="194310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23" name="Line 96"/>
              <p:cNvSpPr>
                <a:spLocks noChangeShapeType="1"/>
              </p:cNvSpPr>
              <p:nvPr/>
            </p:nvSpPr>
            <p:spPr bwMode="auto">
              <a:xfrm flipV="1">
                <a:off x="6078282" y="5316993"/>
                <a:ext cx="175419" cy="259080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24" name="Line 97"/>
              <p:cNvSpPr>
                <a:spLocks noChangeShapeType="1"/>
              </p:cNvSpPr>
              <p:nvPr/>
            </p:nvSpPr>
            <p:spPr bwMode="auto">
              <a:xfrm flipV="1">
                <a:off x="6004461" y="5608458"/>
                <a:ext cx="63590" cy="122794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25" name="Line 98"/>
              <p:cNvSpPr>
                <a:spLocks noChangeShapeType="1"/>
              </p:cNvSpPr>
              <p:nvPr/>
            </p:nvSpPr>
            <p:spPr bwMode="auto">
              <a:xfrm flipV="1">
                <a:off x="6674327" y="5822565"/>
                <a:ext cx="63590" cy="122794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26" name="Rectangle 100"/>
              <p:cNvSpPr>
                <a:spLocks noChangeArrowheads="1"/>
              </p:cNvSpPr>
              <p:nvPr/>
            </p:nvSpPr>
            <p:spPr bwMode="auto">
              <a:xfrm>
                <a:off x="5497962" y="5330378"/>
                <a:ext cx="462444" cy="168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Tx/>
                  <a:buSzTx/>
                  <a:buNone/>
                </a:pPr>
                <a:r>
                  <a:rPr lang="en-US" sz="500" dirty="0" smtClean="0"/>
                  <a:t>SIP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Tx/>
                  <a:buSzTx/>
                  <a:buNone/>
                </a:pPr>
                <a:r>
                  <a:rPr lang="en-US" sz="500" dirty="0" smtClean="0"/>
                  <a:t>IP-PBX</a:t>
                </a:r>
                <a:endParaRPr lang="en-GB" sz="500" dirty="0" smtClean="0"/>
              </a:p>
            </p:txBody>
          </p:sp>
          <p:sp>
            <p:nvSpPr>
              <p:cNvPr id="427" name="Rectangle 101"/>
              <p:cNvSpPr>
                <a:spLocks noChangeArrowheads="1"/>
              </p:cNvSpPr>
              <p:nvPr/>
            </p:nvSpPr>
            <p:spPr bwMode="auto">
              <a:xfrm>
                <a:off x="6793935" y="5586384"/>
                <a:ext cx="383198" cy="168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Tx/>
                  <a:buSzTx/>
                  <a:buNone/>
                </a:pPr>
                <a:r>
                  <a:rPr lang="en-US" sz="500" dirty="0"/>
                  <a:t>SIP GW</a:t>
                </a:r>
                <a:endParaRPr lang="en-GB" sz="500" dirty="0"/>
              </a:p>
            </p:txBody>
          </p:sp>
          <p:sp>
            <p:nvSpPr>
              <p:cNvPr id="428" name="Rectangle 103"/>
              <p:cNvSpPr>
                <a:spLocks noChangeArrowheads="1"/>
              </p:cNvSpPr>
              <p:nvPr/>
            </p:nvSpPr>
            <p:spPr bwMode="auto">
              <a:xfrm>
                <a:off x="5949061" y="4957720"/>
                <a:ext cx="430554" cy="152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en-US" sz="500" dirty="0"/>
                  <a:t>CSCF</a:t>
                </a:r>
                <a:endParaRPr lang="en-GB" sz="500" dirty="0"/>
              </a:p>
            </p:txBody>
          </p:sp>
          <p:sp>
            <p:nvSpPr>
              <p:cNvPr id="429" name="Rectangle 104"/>
              <p:cNvSpPr>
                <a:spLocks noChangeArrowheads="1"/>
              </p:cNvSpPr>
              <p:nvPr/>
            </p:nvSpPr>
            <p:spPr bwMode="auto">
              <a:xfrm>
                <a:off x="6307662" y="5418674"/>
                <a:ext cx="448120" cy="1696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en-US" sz="500" dirty="0" smtClean="0"/>
                  <a:t>CSCF</a:t>
                </a:r>
                <a:endParaRPr lang="en-GB" sz="500" dirty="0"/>
              </a:p>
            </p:txBody>
          </p:sp>
          <p:pic>
            <p:nvPicPr>
              <p:cNvPr id="430" name="Picture 106" descr="voicerouter"/>
              <p:cNvPicPr preferRelativeResize="0"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5978878" y="5479593"/>
                <a:ext cx="231699" cy="16192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31" name="Picture 107" descr="voicerouter"/>
              <p:cNvPicPr preferRelativeResize="0"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6631202" y="5699097"/>
                <a:ext cx="231699" cy="16192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32" name="Picture 109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5886784" y="5673228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33" name="Picture 110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6556650" y="5930515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434" name="Freeform 130"/>
              <p:cNvSpPr>
                <a:spLocks/>
              </p:cNvSpPr>
              <p:nvPr/>
            </p:nvSpPr>
            <p:spPr bwMode="auto">
              <a:xfrm>
                <a:off x="5885321" y="5236031"/>
                <a:ext cx="298211" cy="5397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408" y="0"/>
                  </a:cxn>
                </a:cxnLst>
                <a:rect l="0" t="0" r="r" b="b"/>
                <a:pathLst>
                  <a:path w="408" h="8">
                    <a:moveTo>
                      <a:pt x="0" y="8"/>
                    </a:moveTo>
                    <a:lnTo>
                      <a:pt x="408" y="0"/>
                    </a:lnTo>
                  </a:path>
                </a:pathLst>
              </a:custGeom>
              <a:noFill/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35" name="Arc 165"/>
              <p:cNvSpPr>
                <a:spLocks/>
              </p:cNvSpPr>
              <p:nvPr/>
            </p:nvSpPr>
            <p:spPr bwMode="auto">
              <a:xfrm rot="3125254">
                <a:off x="6120839" y="5635058"/>
                <a:ext cx="51164" cy="85686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293"/>
                  <a:gd name="T1" fmla="*/ 0 h 21600"/>
                  <a:gd name="T2" fmla="*/ 21293 w 21293"/>
                  <a:gd name="T3" fmla="*/ 17970 h 21600"/>
                  <a:gd name="T4" fmla="*/ 0 w 21293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293" h="21600" fill="none" extrusionOk="0">
                    <a:moveTo>
                      <a:pt x="-1" y="0"/>
                    </a:moveTo>
                    <a:cubicBezTo>
                      <a:pt x="10528" y="0"/>
                      <a:pt x="19523" y="7591"/>
                      <a:pt x="21292" y="17970"/>
                    </a:cubicBezTo>
                  </a:path>
                  <a:path w="21293" h="21600" stroke="0" extrusionOk="0">
                    <a:moveTo>
                      <a:pt x="-1" y="0"/>
                    </a:moveTo>
                    <a:cubicBezTo>
                      <a:pt x="10528" y="0"/>
                      <a:pt x="19523" y="7591"/>
                      <a:pt x="21292" y="17970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36" name="Arc 166"/>
              <p:cNvSpPr>
                <a:spLocks noChangeAspect="1"/>
              </p:cNvSpPr>
              <p:nvPr/>
            </p:nvSpPr>
            <p:spPr bwMode="auto">
              <a:xfrm rot="3125254">
                <a:off x="6130848" y="5620548"/>
                <a:ext cx="76746" cy="128191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365"/>
                  <a:gd name="T1" fmla="*/ 0 h 21600"/>
                  <a:gd name="T2" fmla="*/ 21365 w 21365"/>
                  <a:gd name="T3" fmla="*/ 18426 h 21600"/>
                  <a:gd name="T4" fmla="*/ 0 w 21365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365" h="21600" fill="none" extrusionOk="0">
                    <a:moveTo>
                      <a:pt x="-1" y="0"/>
                    </a:moveTo>
                    <a:cubicBezTo>
                      <a:pt x="10703" y="0"/>
                      <a:pt x="19792" y="7838"/>
                      <a:pt x="21365" y="18425"/>
                    </a:cubicBezTo>
                  </a:path>
                  <a:path w="21365" h="21600" stroke="0" extrusionOk="0">
                    <a:moveTo>
                      <a:pt x="-1" y="0"/>
                    </a:moveTo>
                    <a:cubicBezTo>
                      <a:pt x="10703" y="0"/>
                      <a:pt x="19792" y="7838"/>
                      <a:pt x="21365" y="18425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437" name="Arc 167"/>
              <p:cNvSpPr>
                <a:spLocks noChangeAspect="1"/>
              </p:cNvSpPr>
              <p:nvPr/>
            </p:nvSpPr>
            <p:spPr bwMode="auto">
              <a:xfrm rot="3125254">
                <a:off x="6152595" y="5612431"/>
                <a:ext cx="97942" cy="159902"/>
              </a:xfrm>
              <a:custGeom>
                <a:avLst/>
                <a:gdLst>
                  <a:gd name="G0" fmla="+- 0 0 0"/>
                  <a:gd name="G1" fmla="+- 21600 0 0"/>
                  <a:gd name="G2" fmla="+- 21600 0 0"/>
                  <a:gd name="T0" fmla="*/ 0 w 21577"/>
                  <a:gd name="T1" fmla="*/ 0 h 21600"/>
                  <a:gd name="T2" fmla="*/ 21577 w 21577"/>
                  <a:gd name="T3" fmla="*/ 20612 h 21600"/>
                  <a:gd name="T4" fmla="*/ 0 w 21577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577" h="21600" fill="none" extrusionOk="0">
                    <a:moveTo>
                      <a:pt x="-1" y="0"/>
                    </a:moveTo>
                    <a:cubicBezTo>
                      <a:pt x="11545" y="0"/>
                      <a:pt x="21049" y="9078"/>
                      <a:pt x="21577" y="20611"/>
                    </a:cubicBezTo>
                  </a:path>
                  <a:path w="21577" h="21600" stroke="0" extrusionOk="0">
                    <a:moveTo>
                      <a:pt x="-1" y="0"/>
                    </a:moveTo>
                    <a:cubicBezTo>
                      <a:pt x="11545" y="0"/>
                      <a:pt x="21049" y="9078"/>
                      <a:pt x="21577" y="20611"/>
                    </a:cubicBezTo>
                    <a:lnTo>
                      <a:pt x="0" y="21600"/>
                    </a:lnTo>
                    <a:close/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438" name="Picture 168" descr="cellphone"/>
              <p:cNvPicPr>
                <a:picLocks noChangeAspect="1" noChangeArrowheads="1"/>
              </p:cNvPicPr>
              <p:nvPr/>
            </p:nvPicPr>
            <p:blipFill>
              <a:blip r:embed="rId17" cstate="print"/>
              <a:srcRect/>
              <a:stretch>
                <a:fillRect/>
              </a:stretch>
            </p:blipFill>
            <p:spPr bwMode="auto">
              <a:xfrm rot="1080257">
                <a:off x="6285392" y="5638715"/>
                <a:ext cx="94287" cy="25368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439" name="Freeform 170"/>
              <p:cNvSpPr>
                <a:spLocks/>
              </p:cNvSpPr>
              <p:nvPr/>
            </p:nvSpPr>
            <p:spPr bwMode="auto">
              <a:xfrm>
                <a:off x="6765688" y="5032332"/>
                <a:ext cx="408593" cy="304457"/>
              </a:xfrm>
              <a:custGeom>
                <a:avLst/>
                <a:gdLst/>
                <a:ahLst/>
                <a:cxnLst>
                  <a:cxn ang="0">
                    <a:pos x="64" y="0"/>
                  </a:cxn>
                  <a:cxn ang="0">
                    <a:pos x="0" y="376"/>
                  </a:cxn>
                </a:cxnLst>
                <a:rect l="0" t="0" r="r" b="b"/>
                <a:pathLst>
                  <a:path w="64" h="376">
                    <a:moveTo>
                      <a:pt x="64" y="0"/>
                    </a:moveTo>
                    <a:lnTo>
                      <a:pt x="0" y="376"/>
                    </a:lnTo>
                  </a:path>
                </a:pathLst>
              </a:custGeom>
              <a:noFill/>
              <a:ln w="9525">
                <a:solidFill>
                  <a:srgbClr val="0066FF"/>
                </a:solidFill>
                <a:round/>
                <a:headEnd type="triangle" w="med" len="med"/>
                <a:tailEnd type="triangl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440" name="Picture 173" descr="SIPproxysrvr"/>
              <p:cNvPicPr>
                <a:picLocks noChangeAspect="1" noChangeArrowheads="1"/>
              </p:cNvPicPr>
              <p:nvPr/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6184996" y="5082877"/>
                <a:ext cx="220004" cy="306308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41" name="Picture 174" descr="SIPproxysrvr"/>
              <p:cNvPicPr>
                <a:picLocks noChangeAspect="1" noChangeArrowheads="1"/>
              </p:cNvPicPr>
              <p:nvPr/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6649475" y="5336116"/>
                <a:ext cx="220004" cy="306308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442" name="Picture 2"/>
              <p:cNvPicPr>
                <a:picLocks noChangeAspect="1" noChangeArrowheads="1"/>
              </p:cNvPicPr>
              <p:nvPr/>
            </p:nvPicPr>
            <p:blipFill>
              <a:blip r:embed="rId20" cstate="print"/>
              <a:stretch>
                <a:fillRect/>
              </a:stretch>
            </p:blipFill>
            <p:spPr bwMode="auto">
              <a:xfrm>
                <a:off x="7032625" y="4724522"/>
                <a:ext cx="354013" cy="3267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443" name="Rectangle 117"/>
              <p:cNvSpPr>
                <a:spLocks noChangeArrowheads="1"/>
              </p:cNvSpPr>
              <p:nvPr/>
            </p:nvSpPr>
            <p:spPr bwMode="auto">
              <a:xfrm>
                <a:off x="6969429" y="4736372"/>
                <a:ext cx="476044" cy="182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ts val="0"/>
                  </a:spcBef>
                  <a:buClrTx/>
                  <a:buSzTx/>
                  <a:buNone/>
                </a:pPr>
                <a:r>
                  <a:rPr lang="en-US" sz="400" dirty="0" smtClean="0">
                    <a:latin typeface="+mn-lt"/>
                  </a:rPr>
                  <a:t>HSS</a:t>
                </a:r>
                <a:endParaRPr lang="en-GB" sz="400" dirty="0">
                  <a:latin typeface="+mn-lt"/>
                </a:endParaRPr>
              </a:p>
            </p:txBody>
          </p:sp>
          <p:sp>
            <p:nvSpPr>
              <p:cNvPr id="444" name="Rectangle 118"/>
              <p:cNvSpPr>
                <a:spLocks noChangeArrowheads="1"/>
              </p:cNvSpPr>
              <p:nvPr/>
            </p:nvSpPr>
            <p:spPr bwMode="auto">
              <a:xfrm>
                <a:off x="7039809" y="4449612"/>
                <a:ext cx="293096" cy="1106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noAutofit/>
              </a:bodyPr>
              <a:lstStyle/>
              <a:p>
                <a:pPr algn="ctr">
                  <a:spcBef>
                    <a:spcPts val="0"/>
                  </a:spcBef>
                  <a:buClrTx/>
                  <a:buSzTx/>
                  <a:buNone/>
                </a:pPr>
                <a:r>
                  <a:rPr lang="it-IT" sz="600" dirty="0">
                    <a:latin typeface="+mn-lt"/>
                  </a:rPr>
                  <a:t>C5STS</a:t>
                </a:r>
                <a:endParaRPr lang="en-GB" sz="600" dirty="0">
                  <a:latin typeface="+mn-lt"/>
                </a:endParaRPr>
              </a:p>
            </p:txBody>
          </p:sp>
          <p:sp>
            <p:nvSpPr>
              <p:cNvPr id="445" name="Freeform 119"/>
              <p:cNvSpPr>
                <a:spLocks/>
              </p:cNvSpPr>
              <p:nvPr/>
            </p:nvSpPr>
            <p:spPr bwMode="auto">
              <a:xfrm>
                <a:off x="7210110" y="4422624"/>
                <a:ext cx="731" cy="3400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04"/>
                  </a:cxn>
                </a:cxnLst>
                <a:rect l="0" t="0" r="r" b="b"/>
                <a:pathLst>
                  <a:path w="1" h="504">
                    <a:moveTo>
                      <a:pt x="0" y="0"/>
                    </a:moveTo>
                    <a:lnTo>
                      <a:pt x="0" y="504"/>
                    </a:lnTo>
                  </a:path>
                </a:pathLst>
              </a:custGeom>
              <a:noFill/>
              <a:ln w="9525" cap="flat" cmpd="sng">
                <a:solidFill>
                  <a:srgbClr val="0066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grpSp>
            <p:nvGrpSpPr>
              <p:cNvPr id="446" name="Group 177"/>
              <p:cNvGrpSpPr/>
              <p:nvPr/>
            </p:nvGrpSpPr>
            <p:grpSpPr>
              <a:xfrm>
                <a:off x="6999607" y="4137232"/>
                <a:ext cx="391770" cy="323850"/>
                <a:chOff x="6999607" y="4137232"/>
                <a:chExt cx="391770" cy="323850"/>
              </a:xfrm>
            </p:grpSpPr>
            <p:sp>
              <p:nvSpPr>
                <p:cNvPr id="465" name="AutoShape 120"/>
                <p:cNvSpPr>
                  <a:spLocks noChangeArrowheads="1"/>
                </p:cNvSpPr>
                <p:nvPr/>
              </p:nvSpPr>
              <p:spPr bwMode="auto">
                <a:xfrm>
                  <a:off x="6999607" y="4137232"/>
                  <a:ext cx="372765" cy="323850"/>
                </a:xfrm>
                <a:prstGeom prst="triangle">
                  <a:avLst>
                    <a:gd name="adj" fmla="val 50000"/>
                  </a:avLst>
                </a:pr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66" name="Freeform 121"/>
                <p:cNvSpPr>
                  <a:spLocks/>
                </p:cNvSpPr>
                <p:nvPr/>
              </p:nvSpPr>
              <p:spPr bwMode="auto">
                <a:xfrm>
                  <a:off x="7185991" y="4137232"/>
                  <a:ext cx="205386" cy="3238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40" y="460"/>
                    </a:cxn>
                    <a:cxn ang="0">
                      <a:pos x="402" y="832"/>
                    </a:cxn>
                  </a:cxnLst>
                  <a:rect l="0" t="0" r="r" b="b"/>
                  <a:pathLst>
                    <a:path w="440" h="832">
                      <a:moveTo>
                        <a:pt x="0" y="0"/>
                      </a:moveTo>
                      <a:lnTo>
                        <a:pt x="440" y="460"/>
                      </a:lnTo>
                      <a:lnTo>
                        <a:pt x="402" y="832"/>
                      </a:lnTo>
                    </a:path>
                  </a:pathLst>
                </a:cu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</p:grpSp>
          <p:sp>
            <p:nvSpPr>
              <p:cNvPr id="447" name="Freeform 134"/>
              <p:cNvSpPr>
                <a:spLocks/>
              </p:cNvSpPr>
              <p:nvPr/>
            </p:nvSpPr>
            <p:spPr bwMode="auto">
              <a:xfrm>
                <a:off x="6748174" y="4406432"/>
                <a:ext cx="380073" cy="35083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20" y="520"/>
                  </a:cxn>
                </a:cxnLst>
                <a:rect l="0" t="0" r="r" b="b"/>
                <a:pathLst>
                  <a:path w="520" h="520">
                    <a:moveTo>
                      <a:pt x="0" y="0"/>
                    </a:moveTo>
                    <a:lnTo>
                      <a:pt x="520" y="520"/>
                    </a:lnTo>
                  </a:path>
                </a:pathLst>
              </a:custGeom>
              <a:noFill/>
              <a:ln w="9525" cap="flat" cmpd="sng">
                <a:solidFill>
                  <a:srgbClr val="0066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grpSp>
            <p:nvGrpSpPr>
              <p:cNvPr id="448" name="Group 176"/>
              <p:cNvGrpSpPr/>
              <p:nvPr/>
            </p:nvGrpSpPr>
            <p:grpSpPr>
              <a:xfrm>
                <a:off x="6566909" y="4137232"/>
                <a:ext cx="391768" cy="323850"/>
                <a:chOff x="6566909" y="4137232"/>
                <a:chExt cx="391768" cy="323850"/>
              </a:xfrm>
            </p:grpSpPr>
            <p:sp>
              <p:nvSpPr>
                <p:cNvPr id="463" name="AutoShape 136"/>
                <p:cNvSpPr>
                  <a:spLocks noChangeArrowheads="1"/>
                </p:cNvSpPr>
                <p:nvPr/>
              </p:nvSpPr>
              <p:spPr bwMode="auto">
                <a:xfrm>
                  <a:off x="6566909" y="4137232"/>
                  <a:ext cx="373112" cy="323850"/>
                </a:xfrm>
                <a:prstGeom prst="triangle">
                  <a:avLst>
                    <a:gd name="adj" fmla="val 50000"/>
                  </a:avLst>
                </a:pr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64" name="Freeform 137"/>
                <p:cNvSpPr>
                  <a:spLocks/>
                </p:cNvSpPr>
                <p:nvPr/>
              </p:nvSpPr>
              <p:spPr bwMode="auto">
                <a:xfrm>
                  <a:off x="6753465" y="4137232"/>
                  <a:ext cx="205212" cy="3238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40" y="460"/>
                    </a:cxn>
                    <a:cxn ang="0">
                      <a:pos x="402" y="832"/>
                    </a:cxn>
                  </a:cxnLst>
                  <a:rect l="0" t="0" r="r" b="b"/>
                  <a:pathLst>
                    <a:path w="440" h="832">
                      <a:moveTo>
                        <a:pt x="0" y="0"/>
                      </a:moveTo>
                      <a:lnTo>
                        <a:pt x="440" y="460"/>
                      </a:lnTo>
                      <a:lnTo>
                        <a:pt x="402" y="832"/>
                      </a:lnTo>
                    </a:path>
                  </a:pathLst>
                </a:cu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</p:grpSp>
          <p:sp>
            <p:nvSpPr>
              <p:cNvPr id="449" name="Freeform 140"/>
              <p:cNvSpPr>
                <a:spLocks/>
              </p:cNvSpPr>
              <p:nvPr/>
            </p:nvSpPr>
            <p:spPr bwMode="auto">
              <a:xfrm>
                <a:off x="6334479" y="4413855"/>
                <a:ext cx="709715" cy="36163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71" y="536"/>
                  </a:cxn>
                </a:cxnLst>
                <a:rect l="0" t="0" r="r" b="b"/>
                <a:pathLst>
                  <a:path w="971" h="536">
                    <a:moveTo>
                      <a:pt x="0" y="0"/>
                    </a:moveTo>
                    <a:lnTo>
                      <a:pt x="971" y="536"/>
                    </a:lnTo>
                  </a:path>
                </a:pathLst>
              </a:custGeom>
              <a:noFill/>
              <a:ln w="9525" cap="flat" cmpd="sng">
                <a:solidFill>
                  <a:srgbClr val="0066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grpSp>
            <p:nvGrpSpPr>
              <p:cNvPr id="450" name="Group 175"/>
              <p:cNvGrpSpPr/>
              <p:nvPr/>
            </p:nvGrpSpPr>
            <p:grpSpPr>
              <a:xfrm>
                <a:off x="6153213" y="4144654"/>
                <a:ext cx="391769" cy="323851"/>
                <a:chOff x="6153213" y="4144654"/>
                <a:chExt cx="391769" cy="323851"/>
              </a:xfrm>
            </p:grpSpPr>
            <p:sp>
              <p:nvSpPr>
                <p:cNvPr id="461" name="AutoShape 142"/>
                <p:cNvSpPr>
                  <a:spLocks noChangeArrowheads="1"/>
                </p:cNvSpPr>
                <p:nvPr/>
              </p:nvSpPr>
              <p:spPr bwMode="auto">
                <a:xfrm>
                  <a:off x="6153213" y="4144654"/>
                  <a:ext cx="373113" cy="323851"/>
                </a:xfrm>
                <a:prstGeom prst="triangle">
                  <a:avLst>
                    <a:gd name="adj" fmla="val 50000"/>
                  </a:avLst>
                </a:pr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62" name="Freeform 143"/>
                <p:cNvSpPr>
                  <a:spLocks/>
                </p:cNvSpPr>
                <p:nvPr/>
              </p:nvSpPr>
              <p:spPr bwMode="auto">
                <a:xfrm>
                  <a:off x="6339770" y="4144654"/>
                  <a:ext cx="205212" cy="32385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40" y="460"/>
                    </a:cxn>
                    <a:cxn ang="0">
                      <a:pos x="402" y="832"/>
                    </a:cxn>
                  </a:cxnLst>
                  <a:rect l="0" t="0" r="r" b="b"/>
                  <a:pathLst>
                    <a:path w="440" h="832">
                      <a:moveTo>
                        <a:pt x="0" y="0"/>
                      </a:moveTo>
                      <a:lnTo>
                        <a:pt x="440" y="460"/>
                      </a:lnTo>
                      <a:lnTo>
                        <a:pt x="402" y="832"/>
                      </a:lnTo>
                    </a:path>
                  </a:pathLst>
                </a:cu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</p:grpSp>
          <p:sp>
            <p:nvSpPr>
              <p:cNvPr id="451" name="Line 122"/>
              <p:cNvSpPr>
                <a:spLocks noChangeShapeType="1"/>
              </p:cNvSpPr>
              <p:nvPr/>
            </p:nvSpPr>
            <p:spPr bwMode="auto">
              <a:xfrm flipH="1">
                <a:off x="7280277" y="4411829"/>
                <a:ext cx="350838" cy="350837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grpSp>
            <p:nvGrpSpPr>
              <p:cNvPr id="452" name="Group 178"/>
              <p:cNvGrpSpPr/>
              <p:nvPr/>
            </p:nvGrpSpPr>
            <p:grpSpPr>
              <a:xfrm>
                <a:off x="7432307" y="4137232"/>
                <a:ext cx="391768" cy="323850"/>
                <a:chOff x="7432307" y="4137232"/>
                <a:chExt cx="391768" cy="323850"/>
              </a:xfrm>
            </p:grpSpPr>
            <p:sp>
              <p:nvSpPr>
                <p:cNvPr id="459" name="AutoShape 124"/>
                <p:cNvSpPr>
                  <a:spLocks noChangeArrowheads="1"/>
                </p:cNvSpPr>
                <p:nvPr/>
              </p:nvSpPr>
              <p:spPr bwMode="auto">
                <a:xfrm>
                  <a:off x="7432307" y="4137232"/>
                  <a:ext cx="372764" cy="323850"/>
                </a:xfrm>
                <a:prstGeom prst="triangle">
                  <a:avLst>
                    <a:gd name="adj" fmla="val 50000"/>
                  </a:avLst>
                </a:pr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60" name="Freeform 125"/>
                <p:cNvSpPr>
                  <a:spLocks/>
                </p:cNvSpPr>
                <p:nvPr/>
              </p:nvSpPr>
              <p:spPr bwMode="auto">
                <a:xfrm>
                  <a:off x="7618689" y="4137232"/>
                  <a:ext cx="205386" cy="3238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40" y="460"/>
                    </a:cxn>
                    <a:cxn ang="0">
                      <a:pos x="402" y="832"/>
                    </a:cxn>
                  </a:cxnLst>
                  <a:rect l="0" t="0" r="r" b="b"/>
                  <a:pathLst>
                    <a:path w="440" h="832">
                      <a:moveTo>
                        <a:pt x="0" y="0"/>
                      </a:moveTo>
                      <a:lnTo>
                        <a:pt x="440" y="460"/>
                      </a:lnTo>
                      <a:lnTo>
                        <a:pt x="402" y="832"/>
                      </a:lnTo>
                    </a:path>
                  </a:pathLst>
                </a:cu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</p:grpSp>
          <p:sp>
            <p:nvSpPr>
              <p:cNvPr id="453" name="Freeform 146"/>
              <p:cNvSpPr>
                <a:spLocks/>
              </p:cNvSpPr>
              <p:nvPr/>
            </p:nvSpPr>
            <p:spPr bwMode="auto">
              <a:xfrm>
                <a:off x="7315200" y="4413853"/>
                <a:ext cx="712072" cy="374221"/>
              </a:xfrm>
              <a:custGeom>
                <a:avLst/>
                <a:gdLst/>
                <a:ahLst/>
                <a:cxnLst>
                  <a:cxn ang="0">
                    <a:pos x="928" y="0"/>
                  </a:cxn>
                  <a:cxn ang="0">
                    <a:pos x="0" y="519"/>
                  </a:cxn>
                </a:cxnLst>
                <a:rect l="0" t="0" r="r" b="b"/>
                <a:pathLst>
                  <a:path w="928" h="519">
                    <a:moveTo>
                      <a:pt x="928" y="0"/>
                    </a:moveTo>
                    <a:lnTo>
                      <a:pt x="0" y="519"/>
                    </a:lnTo>
                  </a:path>
                </a:pathLst>
              </a:custGeom>
              <a:noFill/>
              <a:ln w="9525" cap="flat" cmpd="sng">
                <a:solidFill>
                  <a:srgbClr val="0066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grpSp>
            <p:nvGrpSpPr>
              <p:cNvPr id="454" name="Group 179"/>
              <p:cNvGrpSpPr/>
              <p:nvPr/>
            </p:nvGrpSpPr>
            <p:grpSpPr>
              <a:xfrm>
                <a:off x="7846006" y="4144653"/>
                <a:ext cx="391769" cy="323850"/>
                <a:chOff x="7846006" y="4144653"/>
                <a:chExt cx="391769" cy="323850"/>
              </a:xfrm>
            </p:grpSpPr>
            <p:sp>
              <p:nvSpPr>
                <p:cNvPr id="457" name="AutoShape 148"/>
                <p:cNvSpPr>
                  <a:spLocks noChangeArrowheads="1"/>
                </p:cNvSpPr>
                <p:nvPr/>
              </p:nvSpPr>
              <p:spPr bwMode="auto">
                <a:xfrm>
                  <a:off x="7846006" y="4144653"/>
                  <a:ext cx="372765" cy="323850"/>
                </a:xfrm>
                <a:prstGeom prst="triangle">
                  <a:avLst>
                    <a:gd name="adj" fmla="val 50000"/>
                  </a:avLst>
                </a:pr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  <p:sp>
              <p:nvSpPr>
                <p:cNvPr id="458" name="Freeform 149"/>
                <p:cNvSpPr>
                  <a:spLocks/>
                </p:cNvSpPr>
                <p:nvPr/>
              </p:nvSpPr>
              <p:spPr bwMode="auto">
                <a:xfrm>
                  <a:off x="8032389" y="4144653"/>
                  <a:ext cx="205386" cy="32385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40" y="460"/>
                    </a:cxn>
                    <a:cxn ang="0">
                      <a:pos x="402" y="832"/>
                    </a:cxn>
                  </a:cxnLst>
                  <a:rect l="0" t="0" r="r" b="b"/>
                  <a:pathLst>
                    <a:path w="440" h="832">
                      <a:moveTo>
                        <a:pt x="0" y="0"/>
                      </a:moveTo>
                      <a:lnTo>
                        <a:pt x="440" y="460"/>
                      </a:lnTo>
                      <a:lnTo>
                        <a:pt x="402" y="832"/>
                      </a:lnTo>
                    </a:path>
                  </a:pathLst>
                </a:custGeom>
                <a:gradFill rotWithShape="0">
                  <a:gsLst>
                    <a:gs pos="0">
                      <a:srgbClr val="F5BB53"/>
                    </a:gs>
                    <a:gs pos="50000">
                      <a:srgbClr val="FFFFFF"/>
                    </a:gs>
                    <a:gs pos="100000">
                      <a:srgbClr val="F5BB53"/>
                    </a:gs>
                  </a:gsLst>
                  <a:lin ang="2700000" scaled="1"/>
                </a:gradFill>
                <a:ln w="635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>
                  <a:noAutofit/>
                </a:bodyPr>
                <a:lstStyle/>
                <a:p>
                  <a:endParaRPr lang="it-IT" sz="800">
                    <a:latin typeface="+mn-lt"/>
                  </a:endParaRPr>
                </a:p>
              </p:txBody>
            </p:sp>
          </p:grpSp>
          <p:pic>
            <p:nvPicPr>
              <p:cNvPr id="455" name="Picture 7" descr="C:\Users\groda\Pictures\Microsoft Clip Organizer\Cloud2.png"/>
              <p:cNvPicPr preferRelativeResize="0">
                <a:picLocks noChangeArrowheads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 bwMode="auto">
              <a:xfrm>
                <a:off x="8653260" y="4797957"/>
                <a:ext cx="646081" cy="453560"/>
              </a:xfrm>
              <a:prstGeom prst="rect">
                <a:avLst/>
              </a:prstGeom>
              <a:noFill/>
              <a:effectLst>
                <a:outerShdw blurRad="139700" dist="88900" dir="5100000" sx="105000" sy="105000" algn="ctr" rotWithShape="0">
                  <a:srgbClr val="000000">
                    <a:alpha val="29000"/>
                  </a:srgbClr>
                </a:outerShdw>
              </a:effectLst>
            </p:spPr>
          </p:pic>
          <p:sp>
            <p:nvSpPr>
              <p:cNvPr id="456" name="Text Box 169"/>
              <p:cNvSpPr txBox="1">
                <a:spLocks noChangeAspect="1" noChangeArrowheads="1"/>
              </p:cNvSpPr>
              <p:nvPr/>
            </p:nvSpPr>
            <p:spPr bwMode="auto">
              <a:xfrm>
                <a:off x="8609407" y="4942915"/>
                <a:ext cx="711398" cy="182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it-IT" sz="600" dirty="0">
                    <a:solidFill>
                      <a:srgbClr val="C00000"/>
                    </a:solidFill>
                    <a:latin typeface="+mn-lt"/>
                  </a:rPr>
                  <a:t>PSTN/PLMN </a:t>
                </a:r>
                <a:endParaRPr lang="en-GB" sz="600" dirty="0">
                  <a:solidFill>
                    <a:srgbClr val="C00000"/>
                  </a:solidFill>
                  <a:latin typeface="+mn-lt"/>
                </a:endParaRPr>
              </a:p>
            </p:txBody>
          </p:sp>
        </p:grpSp>
      </p:grpSp>
      <p:grpSp>
        <p:nvGrpSpPr>
          <p:cNvPr id="371" name="Group 370"/>
          <p:cNvGrpSpPr/>
          <p:nvPr/>
        </p:nvGrpSpPr>
        <p:grpSpPr>
          <a:xfrm>
            <a:off x="499246" y="3861597"/>
            <a:ext cx="3960000" cy="2304000"/>
            <a:chOff x="499246" y="3861597"/>
            <a:chExt cx="3960000" cy="2304000"/>
          </a:xfrm>
        </p:grpSpPr>
        <p:sp>
          <p:nvSpPr>
            <p:cNvPr id="597" name="Rounded Rectangle 596"/>
            <p:cNvSpPr/>
            <p:nvPr/>
          </p:nvSpPr>
          <p:spPr>
            <a:xfrm>
              <a:off x="499246" y="3861597"/>
              <a:ext cx="3960000" cy="2304000"/>
            </a:xfrm>
            <a:prstGeom prst="roundRect">
              <a:avLst>
                <a:gd name="adj" fmla="val 6068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ct val="20000"/>
                </a:spcBef>
                <a:buClr>
                  <a:srgbClr val="F4BF17"/>
                </a:buClr>
                <a:buSzPct val="40000"/>
              </a:pPr>
              <a:r>
                <a:rPr lang="it-IT" sz="1400" b="1" spc="150" dirty="0" smtClean="0">
                  <a:ln w="11430"/>
                  <a:solidFill>
                    <a:schemeClr val="tx1"/>
                  </a:solidFill>
                  <a:latin typeface="Interstate-Light" pitchFamily="2" charset="0"/>
                </a:rPr>
                <a:t>SERVICE PLATFORMS: 2000</a:t>
              </a:r>
            </a:p>
          </p:txBody>
        </p:sp>
        <p:grpSp>
          <p:nvGrpSpPr>
            <p:cNvPr id="598" name="Group 471"/>
            <p:cNvGrpSpPr/>
            <p:nvPr/>
          </p:nvGrpSpPr>
          <p:grpSpPr>
            <a:xfrm>
              <a:off x="708668" y="4141661"/>
              <a:ext cx="3476393" cy="1787669"/>
              <a:chOff x="708668" y="4067124"/>
              <a:chExt cx="3476393" cy="1787669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99" name="Group 348"/>
              <p:cNvGrpSpPr/>
              <p:nvPr/>
            </p:nvGrpSpPr>
            <p:grpSpPr>
              <a:xfrm>
                <a:off x="1111304" y="4067124"/>
                <a:ext cx="3012841" cy="1439539"/>
                <a:chOff x="6286500" y="4302125"/>
                <a:chExt cx="3012841" cy="1439539"/>
              </a:xfrm>
            </p:grpSpPr>
            <p:pic>
              <p:nvPicPr>
                <p:cNvPr id="834" name="Picture 7" descr="C:\Users\groda\Pictures\Microsoft Clip Organizer\Cloud2.png"/>
                <p:cNvPicPr preferRelativeResize="0">
                  <a:picLocks noChangeArrowheads="1"/>
                </p:cNvPicPr>
                <p:nvPr/>
              </p:nvPicPr>
              <p:blipFill>
                <a:blip r:embed="rId8" cstate="print"/>
                <a:stretch>
                  <a:fillRect/>
                </a:stretch>
              </p:blipFill>
              <p:spPr bwMode="auto">
                <a:xfrm>
                  <a:off x="6286500" y="4302125"/>
                  <a:ext cx="2028825" cy="1439539"/>
                </a:xfrm>
                <a:prstGeom prst="rect">
                  <a:avLst/>
                </a:prstGeom>
                <a:noFill/>
                <a:effectLst>
                  <a:outerShdw blurRad="139700" dist="88900" dir="5100000" sx="105000" sy="105000" algn="ctr" rotWithShape="0">
                    <a:srgbClr val="000000">
                      <a:alpha val="29000"/>
                    </a:srgbClr>
                  </a:outerShdw>
                </a:effectLst>
              </p:spPr>
            </p:pic>
            <p:pic>
              <p:nvPicPr>
                <p:cNvPr id="835" name="Picture 7" descr="C:\Users\groda\Pictures\Microsoft Clip Organizer\Cloud2.png"/>
                <p:cNvPicPr preferRelativeResize="0">
                  <a:picLocks noChangeArrowheads="1"/>
                </p:cNvPicPr>
                <p:nvPr/>
              </p:nvPicPr>
              <p:blipFill>
                <a:blip r:embed="rId8" cstate="print"/>
                <a:stretch>
                  <a:fillRect/>
                </a:stretch>
              </p:blipFill>
              <p:spPr bwMode="auto">
                <a:xfrm>
                  <a:off x="8653260" y="4797957"/>
                  <a:ext cx="646081" cy="453560"/>
                </a:xfrm>
                <a:prstGeom prst="rect">
                  <a:avLst/>
                </a:prstGeom>
                <a:noFill/>
                <a:effectLst>
                  <a:outerShdw blurRad="139700" dist="88900" dir="5100000" sx="105000" sy="105000" algn="ctr" rotWithShape="0">
                    <a:srgbClr val="000000">
                      <a:alpha val="29000"/>
                    </a:srgbClr>
                  </a:outerShdw>
                </a:effectLst>
              </p:spPr>
            </p:pic>
          </p:grpSp>
          <p:pic>
            <p:nvPicPr>
              <p:cNvPr id="600" name="Picture 8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73576" y="4622339"/>
                <a:ext cx="36546" cy="35760"/>
              </a:xfrm>
              <a:prstGeom prst="rect">
                <a:avLst/>
              </a:prstGeom>
              <a:noFill/>
            </p:spPr>
          </p:pic>
          <p:pic>
            <p:nvPicPr>
              <p:cNvPr id="601" name="Picture 9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64074" y="4629761"/>
                <a:ext cx="37277" cy="35760"/>
              </a:xfrm>
              <a:prstGeom prst="rect">
                <a:avLst/>
              </a:prstGeom>
              <a:noFill/>
            </p:spPr>
          </p:pic>
          <p:pic>
            <p:nvPicPr>
              <p:cNvPr id="602" name="Picture 10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55303" y="4636508"/>
                <a:ext cx="36546" cy="35760"/>
              </a:xfrm>
              <a:prstGeom prst="rect">
                <a:avLst/>
              </a:prstGeom>
              <a:noFill/>
            </p:spPr>
          </p:pic>
          <p:pic>
            <p:nvPicPr>
              <p:cNvPr id="603" name="Picture 11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46532" y="4643930"/>
                <a:ext cx="36546" cy="35760"/>
              </a:xfrm>
              <a:prstGeom prst="rect">
                <a:avLst/>
              </a:prstGeom>
              <a:noFill/>
            </p:spPr>
          </p:pic>
          <p:pic>
            <p:nvPicPr>
              <p:cNvPr id="604" name="Picture 12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37030" y="4650677"/>
                <a:ext cx="37277" cy="35760"/>
              </a:xfrm>
              <a:prstGeom prst="rect">
                <a:avLst/>
              </a:prstGeom>
              <a:noFill/>
            </p:spPr>
          </p:pic>
          <p:pic>
            <p:nvPicPr>
              <p:cNvPr id="605" name="Picture 13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26797" y="4658099"/>
                <a:ext cx="36546" cy="35760"/>
              </a:xfrm>
              <a:prstGeom prst="rect">
                <a:avLst/>
              </a:prstGeom>
              <a:noFill/>
            </p:spPr>
          </p:pic>
          <p:pic>
            <p:nvPicPr>
              <p:cNvPr id="606" name="Picture 15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701621" y="4666868"/>
                <a:ext cx="36546" cy="35760"/>
              </a:xfrm>
              <a:prstGeom prst="rect">
                <a:avLst/>
              </a:prstGeom>
              <a:noFill/>
            </p:spPr>
          </p:pic>
          <p:pic>
            <p:nvPicPr>
              <p:cNvPr id="607" name="Picture 16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692119" y="4674290"/>
                <a:ext cx="37277" cy="35760"/>
              </a:xfrm>
              <a:prstGeom prst="rect">
                <a:avLst/>
              </a:prstGeom>
              <a:noFill/>
            </p:spPr>
          </p:pic>
          <p:pic>
            <p:nvPicPr>
              <p:cNvPr id="608" name="Picture 17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683348" y="4681037"/>
                <a:ext cx="36546" cy="35760"/>
              </a:xfrm>
              <a:prstGeom prst="rect">
                <a:avLst/>
              </a:prstGeom>
              <a:noFill/>
            </p:spPr>
          </p:pic>
          <p:pic>
            <p:nvPicPr>
              <p:cNvPr id="609" name="Picture 18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674577" y="4688459"/>
                <a:ext cx="36546" cy="35760"/>
              </a:xfrm>
              <a:prstGeom prst="rect">
                <a:avLst/>
              </a:prstGeom>
              <a:noFill/>
            </p:spPr>
          </p:pic>
          <p:pic>
            <p:nvPicPr>
              <p:cNvPr id="610" name="Picture 19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665075" y="4695206"/>
                <a:ext cx="37277" cy="35760"/>
              </a:xfrm>
              <a:prstGeom prst="rect">
                <a:avLst/>
              </a:prstGeom>
              <a:noFill/>
            </p:spPr>
          </p:pic>
          <p:pic>
            <p:nvPicPr>
              <p:cNvPr id="611" name="Picture 20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654842" y="4702628"/>
                <a:ext cx="36546" cy="35760"/>
              </a:xfrm>
              <a:prstGeom prst="rect">
                <a:avLst/>
              </a:prstGeom>
              <a:noFill/>
            </p:spPr>
          </p:pic>
          <p:sp>
            <p:nvSpPr>
              <p:cNvPr id="612" name="Rectangle 21"/>
              <p:cNvSpPr>
                <a:spLocks noChangeArrowheads="1"/>
              </p:cNvSpPr>
              <p:nvPr/>
            </p:nvSpPr>
            <p:spPr bwMode="auto">
              <a:xfrm>
                <a:off x="1377830" y="4814562"/>
                <a:ext cx="1347800" cy="2725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it-IT" sz="800" b="1" dirty="0">
                    <a:solidFill>
                      <a:schemeClr val="accent3">
                        <a:lumMod val="50000"/>
                      </a:schemeClr>
                    </a:solidFill>
                    <a:latin typeface="+mn-lt"/>
                  </a:rPr>
                  <a:t>IP Backbone</a:t>
                </a:r>
                <a:endParaRPr lang="en-GB" sz="800" b="1" dirty="0">
                  <a:solidFill>
                    <a:schemeClr val="accent3">
                      <a:lumMod val="50000"/>
                    </a:schemeClr>
                  </a:solidFill>
                  <a:latin typeface="+mn-lt"/>
                </a:endParaRPr>
              </a:p>
            </p:txBody>
          </p:sp>
          <p:sp>
            <p:nvSpPr>
              <p:cNvPr id="613" name="Freeform 22"/>
              <p:cNvSpPr>
                <a:spLocks noChangeAspect="1"/>
              </p:cNvSpPr>
              <p:nvPr/>
            </p:nvSpPr>
            <p:spPr bwMode="auto">
              <a:xfrm>
                <a:off x="1459691" y="4680299"/>
                <a:ext cx="82593" cy="290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02" y="122"/>
                  </a:cxn>
                </a:cxnLst>
                <a:rect l="0" t="0" r="r" b="b"/>
                <a:pathLst>
                  <a:path w="302" h="122">
                    <a:moveTo>
                      <a:pt x="0" y="0"/>
                    </a:moveTo>
                    <a:lnTo>
                      <a:pt x="302" y="122"/>
                    </a:lnTo>
                  </a:path>
                </a:pathLst>
              </a:custGeom>
              <a:noFill/>
              <a:ln w="9525" cap="flat" cmpd="sng">
                <a:solidFill>
                  <a:srgbClr val="F6AC2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14" name="Line 23"/>
              <p:cNvSpPr>
                <a:spLocks noChangeAspect="1" noChangeShapeType="1"/>
              </p:cNvSpPr>
              <p:nvPr/>
            </p:nvSpPr>
            <p:spPr bwMode="auto">
              <a:xfrm>
                <a:off x="1515972" y="4643866"/>
                <a:ext cx="76014" cy="26313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15" name="Line 24"/>
              <p:cNvSpPr>
                <a:spLocks noChangeAspect="1" noChangeShapeType="1"/>
              </p:cNvSpPr>
              <p:nvPr/>
            </p:nvSpPr>
            <p:spPr bwMode="auto">
              <a:xfrm>
                <a:off x="1505008" y="4651288"/>
                <a:ext cx="76014" cy="26313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16" name="Line 25"/>
              <p:cNvSpPr>
                <a:spLocks noChangeAspect="1" noChangeShapeType="1"/>
              </p:cNvSpPr>
              <p:nvPr/>
            </p:nvSpPr>
            <p:spPr bwMode="auto">
              <a:xfrm>
                <a:off x="1494044" y="4658709"/>
                <a:ext cx="76014" cy="26313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17" name="Line 26"/>
              <p:cNvSpPr>
                <a:spLocks noChangeAspect="1" noChangeShapeType="1"/>
              </p:cNvSpPr>
              <p:nvPr/>
            </p:nvSpPr>
            <p:spPr bwMode="auto">
              <a:xfrm>
                <a:off x="1483080" y="4666130"/>
                <a:ext cx="76014" cy="26313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18" name="Line 27"/>
              <p:cNvSpPr>
                <a:spLocks noChangeAspect="1" noChangeShapeType="1"/>
              </p:cNvSpPr>
              <p:nvPr/>
            </p:nvSpPr>
            <p:spPr bwMode="auto">
              <a:xfrm>
                <a:off x="1472116" y="4674227"/>
                <a:ext cx="76014" cy="26313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19" name="Freeform 28"/>
              <p:cNvSpPr>
                <a:spLocks noChangeAspect="1"/>
              </p:cNvSpPr>
              <p:nvPr/>
            </p:nvSpPr>
            <p:spPr bwMode="auto">
              <a:xfrm>
                <a:off x="1687004" y="4721455"/>
                <a:ext cx="40931" cy="45879"/>
              </a:xfrm>
              <a:custGeom>
                <a:avLst/>
                <a:gdLst/>
                <a:ahLst/>
                <a:cxnLst>
                  <a:cxn ang="0">
                    <a:pos x="148" y="200"/>
                  </a:cxn>
                  <a:cxn ang="0">
                    <a:pos x="0" y="0"/>
                  </a:cxn>
                </a:cxnLst>
                <a:rect l="0" t="0" r="r" b="b"/>
                <a:pathLst>
                  <a:path w="148" h="200">
                    <a:moveTo>
                      <a:pt x="148" y="200"/>
                    </a:moveTo>
                    <a:lnTo>
                      <a:pt x="0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0" name="Freeform 29"/>
              <p:cNvSpPr>
                <a:spLocks noChangeAspect="1"/>
              </p:cNvSpPr>
              <p:nvPr/>
            </p:nvSpPr>
            <p:spPr bwMode="auto">
              <a:xfrm>
                <a:off x="1801026" y="4574373"/>
                <a:ext cx="79669" cy="38457"/>
              </a:xfrm>
              <a:custGeom>
                <a:avLst/>
                <a:gdLst/>
                <a:ahLst/>
                <a:cxnLst>
                  <a:cxn ang="0">
                    <a:pos x="147" y="0"/>
                  </a:cxn>
                  <a:cxn ang="0">
                    <a:pos x="0" y="83"/>
                  </a:cxn>
                </a:cxnLst>
                <a:rect l="0" t="0" r="r" b="b"/>
                <a:pathLst>
                  <a:path w="147" h="83">
                    <a:moveTo>
                      <a:pt x="147" y="0"/>
                    </a:moveTo>
                    <a:lnTo>
                      <a:pt x="0" y="83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1" name="Freeform 30"/>
              <p:cNvSpPr>
                <a:spLocks noChangeAspect="1"/>
              </p:cNvSpPr>
              <p:nvPr/>
            </p:nvSpPr>
            <p:spPr bwMode="auto">
              <a:xfrm>
                <a:off x="1792256" y="4568975"/>
                <a:ext cx="84055" cy="35759"/>
              </a:xfrm>
              <a:custGeom>
                <a:avLst/>
                <a:gdLst/>
                <a:ahLst/>
                <a:cxnLst>
                  <a:cxn ang="0">
                    <a:pos x="155" y="0"/>
                  </a:cxn>
                  <a:cxn ang="0">
                    <a:pos x="0" y="76"/>
                  </a:cxn>
                </a:cxnLst>
                <a:rect l="0" t="0" r="r" b="b"/>
                <a:pathLst>
                  <a:path w="155" h="76">
                    <a:moveTo>
                      <a:pt x="155" y="0"/>
                    </a:moveTo>
                    <a:lnTo>
                      <a:pt x="0" y="76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2" name="Freeform 31"/>
              <p:cNvSpPr>
                <a:spLocks noChangeAspect="1"/>
              </p:cNvSpPr>
              <p:nvPr/>
            </p:nvSpPr>
            <p:spPr bwMode="auto">
              <a:xfrm>
                <a:off x="1779830" y="4562903"/>
                <a:ext cx="92095" cy="33060"/>
              </a:xfrm>
              <a:custGeom>
                <a:avLst/>
                <a:gdLst/>
                <a:ahLst/>
                <a:cxnLst>
                  <a:cxn ang="0">
                    <a:pos x="169" y="0"/>
                  </a:cxn>
                  <a:cxn ang="0">
                    <a:pos x="0" y="70"/>
                  </a:cxn>
                </a:cxnLst>
                <a:rect l="0" t="0" r="r" b="b"/>
                <a:pathLst>
                  <a:path w="169" h="70">
                    <a:moveTo>
                      <a:pt x="169" y="0"/>
                    </a:moveTo>
                    <a:lnTo>
                      <a:pt x="0" y="7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3" name="Freeform 32"/>
              <p:cNvSpPr>
                <a:spLocks noChangeAspect="1"/>
              </p:cNvSpPr>
              <p:nvPr/>
            </p:nvSpPr>
            <p:spPr bwMode="auto">
              <a:xfrm>
                <a:off x="1745477" y="4547385"/>
                <a:ext cx="128640" cy="12819"/>
              </a:xfrm>
              <a:custGeom>
                <a:avLst/>
                <a:gdLst/>
                <a:ahLst/>
                <a:cxnLst>
                  <a:cxn ang="0">
                    <a:pos x="236" y="0"/>
                  </a:cxn>
                  <a:cxn ang="0">
                    <a:pos x="0" y="28"/>
                  </a:cxn>
                </a:cxnLst>
                <a:rect l="0" t="0" r="r" b="b"/>
                <a:pathLst>
                  <a:path w="236" h="28">
                    <a:moveTo>
                      <a:pt x="236" y="0"/>
                    </a:moveTo>
                    <a:lnTo>
                      <a:pt x="0" y="28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4" name="Freeform 33"/>
              <p:cNvSpPr>
                <a:spLocks noChangeAspect="1"/>
              </p:cNvSpPr>
              <p:nvPr/>
            </p:nvSpPr>
            <p:spPr bwMode="auto">
              <a:xfrm>
                <a:off x="1574445" y="4718082"/>
                <a:ext cx="80401" cy="6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97" y="2"/>
                  </a:cxn>
                </a:cxnLst>
                <a:rect l="0" t="0" r="r" b="b"/>
                <a:pathLst>
                  <a:path w="297" h="2">
                    <a:moveTo>
                      <a:pt x="0" y="0"/>
                    </a:moveTo>
                    <a:lnTo>
                      <a:pt x="297" y="2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5" name="Line 34"/>
              <p:cNvSpPr>
                <a:spLocks noChangeAspect="1" noChangeShapeType="1"/>
              </p:cNvSpPr>
              <p:nvPr/>
            </p:nvSpPr>
            <p:spPr bwMode="auto">
              <a:xfrm>
                <a:off x="1583946" y="4709985"/>
                <a:ext cx="81131" cy="0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6" name="Freeform 35"/>
              <p:cNvSpPr>
                <a:spLocks noChangeAspect="1"/>
              </p:cNvSpPr>
              <p:nvPr/>
            </p:nvSpPr>
            <p:spPr bwMode="auto">
              <a:xfrm>
                <a:off x="1596372" y="4701889"/>
                <a:ext cx="78938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92" y="1"/>
                  </a:cxn>
                </a:cxnLst>
                <a:rect l="0" t="0" r="r" b="b"/>
                <a:pathLst>
                  <a:path w="292" h="1">
                    <a:moveTo>
                      <a:pt x="0" y="0"/>
                    </a:moveTo>
                    <a:lnTo>
                      <a:pt x="292" y="1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7" name="Freeform 36"/>
              <p:cNvSpPr>
                <a:spLocks noChangeAspect="1"/>
              </p:cNvSpPr>
              <p:nvPr/>
            </p:nvSpPr>
            <p:spPr bwMode="auto">
              <a:xfrm>
                <a:off x="1629263" y="4679624"/>
                <a:ext cx="78938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90" y="1"/>
                  </a:cxn>
                </a:cxnLst>
                <a:rect l="0" t="0" r="r" b="b"/>
                <a:pathLst>
                  <a:path w="290" h="1">
                    <a:moveTo>
                      <a:pt x="0" y="0"/>
                    </a:moveTo>
                    <a:lnTo>
                      <a:pt x="290" y="1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8" name="Freeform 37"/>
              <p:cNvSpPr>
                <a:spLocks noChangeAspect="1"/>
              </p:cNvSpPr>
              <p:nvPr/>
            </p:nvSpPr>
            <p:spPr bwMode="auto">
              <a:xfrm>
                <a:off x="1617568" y="4687046"/>
                <a:ext cx="79669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94" y="1"/>
                  </a:cxn>
                </a:cxnLst>
                <a:rect l="0" t="0" r="r" b="b"/>
                <a:pathLst>
                  <a:path w="294" h="1">
                    <a:moveTo>
                      <a:pt x="0" y="0"/>
                    </a:moveTo>
                    <a:lnTo>
                      <a:pt x="294" y="1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29" name="Freeform 38"/>
              <p:cNvSpPr>
                <a:spLocks noChangeAspect="1"/>
              </p:cNvSpPr>
              <p:nvPr/>
            </p:nvSpPr>
            <p:spPr bwMode="auto">
              <a:xfrm>
                <a:off x="1606605" y="4694468"/>
                <a:ext cx="79669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94" y="1"/>
                  </a:cxn>
                </a:cxnLst>
                <a:rect l="0" t="0" r="r" b="b"/>
                <a:pathLst>
                  <a:path w="294" h="1">
                    <a:moveTo>
                      <a:pt x="0" y="0"/>
                    </a:moveTo>
                    <a:lnTo>
                      <a:pt x="294" y="1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30" name="Freeform 39"/>
              <p:cNvSpPr>
                <a:spLocks noChangeAspect="1"/>
              </p:cNvSpPr>
              <p:nvPr/>
            </p:nvSpPr>
            <p:spPr bwMode="auto">
              <a:xfrm>
                <a:off x="1455305" y="4603384"/>
                <a:ext cx="46047" cy="52626"/>
              </a:xfrm>
              <a:custGeom>
                <a:avLst/>
                <a:gdLst/>
                <a:ahLst/>
                <a:cxnLst>
                  <a:cxn ang="0">
                    <a:pos x="0" y="225"/>
                  </a:cxn>
                  <a:cxn ang="0">
                    <a:pos x="168" y="0"/>
                  </a:cxn>
                </a:cxnLst>
                <a:rect l="0" t="0" r="r" b="b"/>
                <a:pathLst>
                  <a:path w="168" h="225">
                    <a:moveTo>
                      <a:pt x="0" y="225"/>
                    </a:moveTo>
                    <a:lnTo>
                      <a:pt x="168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31" name="Freeform 40"/>
              <p:cNvSpPr>
                <a:spLocks noChangeAspect="1"/>
              </p:cNvSpPr>
              <p:nvPr/>
            </p:nvSpPr>
            <p:spPr bwMode="auto">
              <a:xfrm>
                <a:off x="1467731" y="4596638"/>
                <a:ext cx="45317" cy="52626"/>
              </a:xfrm>
              <a:custGeom>
                <a:avLst/>
                <a:gdLst/>
                <a:ahLst/>
                <a:cxnLst>
                  <a:cxn ang="0">
                    <a:pos x="0" y="225"/>
                  </a:cxn>
                  <a:cxn ang="0">
                    <a:pos x="168" y="0"/>
                  </a:cxn>
                </a:cxnLst>
                <a:rect l="0" t="0" r="r" b="b"/>
                <a:pathLst>
                  <a:path w="168" h="225">
                    <a:moveTo>
                      <a:pt x="0" y="225"/>
                    </a:moveTo>
                    <a:lnTo>
                      <a:pt x="168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33" name="Freeform 41"/>
              <p:cNvSpPr>
                <a:spLocks noChangeAspect="1"/>
              </p:cNvSpPr>
              <p:nvPr/>
            </p:nvSpPr>
            <p:spPr bwMode="auto">
              <a:xfrm>
                <a:off x="1441418" y="4611481"/>
                <a:ext cx="45317" cy="52626"/>
              </a:xfrm>
              <a:custGeom>
                <a:avLst/>
                <a:gdLst/>
                <a:ahLst/>
                <a:cxnLst>
                  <a:cxn ang="0">
                    <a:pos x="0" y="225"/>
                  </a:cxn>
                  <a:cxn ang="0">
                    <a:pos x="168" y="0"/>
                  </a:cxn>
                </a:cxnLst>
                <a:rect l="0" t="0" r="r" b="b"/>
                <a:pathLst>
                  <a:path w="168" h="225">
                    <a:moveTo>
                      <a:pt x="0" y="225"/>
                    </a:moveTo>
                    <a:lnTo>
                      <a:pt x="168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34" name="Freeform 42"/>
              <p:cNvSpPr>
                <a:spLocks noChangeAspect="1"/>
              </p:cNvSpPr>
              <p:nvPr/>
            </p:nvSpPr>
            <p:spPr bwMode="auto">
              <a:xfrm>
                <a:off x="1733783" y="4604734"/>
                <a:ext cx="44586" cy="58698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0" y="126"/>
                  </a:cxn>
                </a:cxnLst>
                <a:rect l="0" t="0" r="r" b="b"/>
                <a:pathLst>
                  <a:path w="82" h="126">
                    <a:moveTo>
                      <a:pt x="82" y="0"/>
                    </a:moveTo>
                    <a:lnTo>
                      <a:pt x="0" y="126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35" name="Freeform 43"/>
              <p:cNvSpPr>
                <a:spLocks noChangeAspect="1"/>
              </p:cNvSpPr>
              <p:nvPr/>
            </p:nvSpPr>
            <p:spPr bwMode="auto">
              <a:xfrm>
                <a:off x="1718433" y="4616204"/>
                <a:ext cx="44586" cy="58024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0" y="126"/>
                  </a:cxn>
                </a:cxnLst>
                <a:rect l="0" t="0" r="r" b="b"/>
                <a:pathLst>
                  <a:path w="82" h="126">
                    <a:moveTo>
                      <a:pt x="82" y="0"/>
                    </a:moveTo>
                    <a:lnTo>
                      <a:pt x="0" y="126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38" name="Freeform 44"/>
              <p:cNvSpPr>
                <a:spLocks noChangeAspect="1"/>
              </p:cNvSpPr>
              <p:nvPr/>
            </p:nvSpPr>
            <p:spPr bwMode="auto">
              <a:xfrm>
                <a:off x="1709662" y="4620252"/>
                <a:ext cx="44586" cy="59372"/>
              </a:xfrm>
              <a:custGeom>
                <a:avLst/>
                <a:gdLst/>
                <a:ahLst/>
                <a:cxnLst>
                  <a:cxn ang="0">
                    <a:pos x="82" y="0"/>
                  </a:cxn>
                  <a:cxn ang="0">
                    <a:pos x="0" y="126"/>
                  </a:cxn>
                </a:cxnLst>
                <a:rect l="0" t="0" r="r" b="b"/>
                <a:pathLst>
                  <a:path w="82" h="126">
                    <a:moveTo>
                      <a:pt x="82" y="0"/>
                    </a:moveTo>
                    <a:lnTo>
                      <a:pt x="0" y="126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39" name="Freeform 45"/>
              <p:cNvSpPr>
                <a:spLocks noChangeAspect="1"/>
              </p:cNvSpPr>
              <p:nvPr/>
            </p:nvSpPr>
            <p:spPr bwMode="auto">
              <a:xfrm>
                <a:off x="1682619" y="4614854"/>
                <a:ext cx="73823" cy="90409"/>
              </a:xfrm>
              <a:custGeom>
                <a:avLst/>
                <a:gdLst/>
                <a:ahLst/>
                <a:cxnLst>
                  <a:cxn ang="0">
                    <a:pos x="136" y="0"/>
                  </a:cxn>
                  <a:cxn ang="0">
                    <a:pos x="0" y="194"/>
                  </a:cxn>
                </a:cxnLst>
                <a:rect l="0" t="0" r="r" b="b"/>
                <a:pathLst>
                  <a:path w="136" h="194">
                    <a:moveTo>
                      <a:pt x="136" y="0"/>
                    </a:moveTo>
                    <a:lnTo>
                      <a:pt x="0" y="194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89" name="Line 46"/>
              <p:cNvSpPr>
                <a:spLocks noChangeAspect="1" noChangeShapeType="1"/>
              </p:cNvSpPr>
              <p:nvPr/>
            </p:nvSpPr>
            <p:spPr bwMode="auto">
              <a:xfrm flipV="1">
                <a:off x="1732321" y="4536590"/>
                <a:ext cx="143990" cy="6072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694" name="Freeform 47"/>
              <p:cNvSpPr>
                <a:spLocks noChangeAspect="1"/>
              </p:cNvSpPr>
              <p:nvPr/>
            </p:nvSpPr>
            <p:spPr bwMode="auto">
              <a:xfrm>
                <a:off x="1734514" y="4540639"/>
                <a:ext cx="144720" cy="10795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266" y="0"/>
                  </a:cxn>
                </a:cxnLst>
                <a:rect l="0" t="0" r="r" b="b"/>
                <a:pathLst>
                  <a:path w="266" h="22">
                    <a:moveTo>
                      <a:pt x="0" y="22"/>
                    </a:moveTo>
                    <a:lnTo>
                      <a:pt x="266" y="0"/>
                    </a:lnTo>
                  </a:path>
                </a:pathLst>
              </a:custGeom>
              <a:noFill/>
              <a:ln w="9525" cap="flat" cmpd="sng">
                <a:solidFill>
                  <a:srgbClr val="F6AC2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08" name="Freeform 48"/>
              <p:cNvSpPr>
                <a:spLocks noChangeAspect="1"/>
              </p:cNvSpPr>
              <p:nvPr/>
            </p:nvSpPr>
            <p:spPr bwMode="auto">
              <a:xfrm>
                <a:off x="2553865" y="4500158"/>
                <a:ext cx="60666" cy="155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12" y="34"/>
                  </a:cxn>
                </a:cxnLst>
                <a:rect l="0" t="0" r="r" b="b"/>
                <a:pathLst>
                  <a:path w="112" h="34">
                    <a:moveTo>
                      <a:pt x="0" y="0"/>
                    </a:moveTo>
                    <a:lnTo>
                      <a:pt x="112" y="34"/>
                    </a:lnTo>
                  </a:path>
                </a:pathLst>
              </a:custGeom>
              <a:noFill/>
              <a:ln w="28575" cap="flat" cmpd="sng">
                <a:solidFill>
                  <a:schemeClr val="folHlink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09" name="Freeform 49"/>
              <p:cNvSpPr>
                <a:spLocks noChangeAspect="1"/>
              </p:cNvSpPr>
              <p:nvPr/>
            </p:nvSpPr>
            <p:spPr bwMode="auto">
              <a:xfrm>
                <a:off x="1915048" y="4511627"/>
                <a:ext cx="50434" cy="32385"/>
              </a:xfrm>
              <a:custGeom>
                <a:avLst/>
                <a:gdLst/>
                <a:ahLst/>
                <a:cxnLst>
                  <a:cxn ang="0">
                    <a:pos x="0" y="70"/>
                  </a:cxn>
                  <a:cxn ang="0">
                    <a:pos x="92" y="0"/>
                  </a:cxn>
                </a:cxnLst>
                <a:rect l="0" t="0" r="r" b="b"/>
                <a:pathLst>
                  <a:path w="92" h="70">
                    <a:moveTo>
                      <a:pt x="0" y="70"/>
                    </a:moveTo>
                    <a:lnTo>
                      <a:pt x="92" y="0"/>
                    </a:lnTo>
                  </a:path>
                </a:pathLst>
              </a:custGeom>
              <a:noFill/>
              <a:ln w="28575" cap="flat" cmpd="sng">
                <a:solidFill>
                  <a:schemeClr val="folHlink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10" name="Freeform 50"/>
              <p:cNvSpPr>
                <a:spLocks noChangeAspect="1"/>
              </p:cNvSpPr>
              <p:nvPr/>
            </p:nvSpPr>
            <p:spPr bwMode="auto">
              <a:xfrm>
                <a:off x="2261500" y="4671528"/>
                <a:ext cx="57742" cy="2024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07" y="0"/>
                  </a:cxn>
                </a:cxnLst>
                <a:rect l="0" t="0" r="r" b="b"/>
                <a:pathLst>
                  <a:path w="107" h="4">
                    <a:moveTo>
                      <a:pt x="0" y="4"/>
                    </a:moveTo>
                    <a:lnTo>
                      <a:pt x="107" y="0"/>
                    </a:lnTo>
                  </a:path>
                </a:pathLst>
              </a:custGeom>
              <a:noFill/>
              <a:ln w="28575" cap="flat" cmpd="sng">
                <a:solidFill>
                  <a:schemeClr val="folHlink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11" name="Freeform 51"/>
              <p:cNvSpPr>
                <a:spLocks noChangeAspect="1"/>
              </p:cNvSpPr>
              <p:nvPr/>
            </p:nvSpPr>
            <p:spPr bwMode="auto">
              <a:xfrm>
                <a:off x="1989602" y="4463049"/>
                <a:ext cx="551108" cy="38457"/>
              </a:xfrm>
              <a:custGeom>
                <a:avLst/>
                <a:gdLst/>
                <a:ahLst/>
                <a:cxnLst>
                  <a:cxn ang="0">
                    <a:pos x="0" y="83"/>
                  </a:cxn>
                  <a:cxn ang="0">
                    <a:pos x="264" y="20"/>
                  </a:cxn>
                  <a:cxn ang="0">
                    <a:pos x="555" y="2"/>
                  </a:cxn>
                  <a:cxn ang="0">
                    <a:pos x="882" y="35"/>
                  </a:cxn>
                  <a:cxn ang="0">
                    <a:pos x="1011" y="68"/>
                  </a:cxn>
                </a:cxnLst>
                <a:rect l="0" t="0" r="r" b="b"/>
                <a:pathLst>
                  <a:path w="1011" h="83">
                    <a:moveTo>
                      <a:pt x="0" y="83"/>
                    </a:moveTo>
                    <a:cubicBezTo>
                      <a:pt x="86" y="58"/>
                      <a:pt x="172" y="33"/>
                      <a:pt x="264" y="20"/>
                    </a:cubicBezTo>
                    <a:cubicBezTo>
                      <a:pt x="356" y="7"/>
                      <a:pt x="452" y="0"/>
                      <a:pt x="555" y="2"/>
                    </a:cubicBezTo>
                    <a:cubicBezTo>
                      <a:pt x="658" y="4"/>
                      <a:pt x="806" y="24"/>
                      <a:pt x="882" y="35"/>
                    </a:cubicBezTo>
                    <a:cubicBezTo>
                      <a:pt x="958" y="46"/>
                      <a:pt x="990" y="62"/>
                      <a:pt x="1011" y="68"/>
                    </a:cubicBezTo>
                  </a:path>
                </a:pathLst>
              </a:custGeom>
              <a:noFill/>
              <a:ln w="28575" cap="flat" cmpd="sng">
                <a:solidFill>
                  <a:schemeClr val="folHlink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12" name="Line 52"/>
              <p:cNvSpPr>
                <a:spLocks noChangeAspect="1" noChangeShapeType="1"/>
              </p:cNvSpPr>
              <p:nvPr/>
            </p:nvSpPr>
            <p:spPr bwMode="auto">
              <a:xfrm flipV="1">
                <a:off x="1348593" y="4667480"/>
                <a:ext cx="72360" cy="4049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13" name="Line 53"/>
              <p:cNvSpPr>
                <a:spLocks noChangeAspect="1" noChangeShapeType="1"/>
              </p:cNvSpPr>
              <p:nvPr/>
            </p:nvSpPr>
            <p:spPr bwMode="auto">
              <a:xfrm flipV="1">
                <a:off x="1358095" y="4687720"/>
                <a:ext cx="65051" cy="31710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14" name="Line 54"/>
              <p:cNvSpPr>
                <a:spLocks noChangeAspect="1" noChangeShapeType="1"/>
              </p:cNvSpPr>
              <p:nvPr/>
            </p:nvSpPr>
            <p:spPr bwMode="auto">
              <a:xfrm flipV="1">
                <a:off x="1454575" y="4724828"/>
                <a:ext cx="84055" cy="51276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15" name="Line 55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58364" y="4728877"/>
                <a:ext cx="731" cy="51951"/>
              </a:xfrm>
              <a:prstGeom prst="line">
                <a:avLst/>
              </a:pr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716" name="Picture 56" descr="pc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539361" y="4765984"/>
                <a:ext cx="57742" cy="44530"/>
              </a:xfrm>
              <a:prstGeom prst="rect">
                <a:avLst/>
              </a:prstGeom>
              <a:noFill/>
            </p:spPr>
          </p:pic>
          <p:pic>
            <p:nvPicPr>
              <p:cNvPr id="717" name="Picture 57" descr="pc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326665" y="4703238"/>
                <a:ext cx="57742" cy="44530"/>
              </a:xfrm>
              <a:prstGeom prst="rect">
                <a:avLst/>
              </a:prstGeom>
              <a:noFill/>
            </p:spPr>
          </p:pic>
          <p:pic>
            <p:nvPicPr>
              <p:cNvPr id="718" name="Picture 58" descr="pc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1313509" y="4646564"/>
                <a:ext cx="57742" cy="44530"/>
              </a:xfrm>
              <a:prstGeom prst="rect">
                <a:avLst/>
              </a:prstGeom>
              <a:noFill/>
            </p:spPr>
          </p:pic>
          <p:pic>
            <p:nvPicPr>
              <p:cNvPr id="719" name="Picture 59" descr="IP phone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1418760" y="4762611"/>
                <a:ext cx="64320" cy="47229"/>
              </a:xfrm>
              <a:prstGeom prst="rect">
                <a:avLst/>
              </a:prstGeom>
              <a:noFill/>
            </p:spPr>
          </p:pic>
          <p:pic>
            <p:nvPicPr>
              <p:cNvPr id="722" name="Picture 60" descr="IP phone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1706008" y="4754514"/>
                <a:ext cx="64320" cy="47229"/>
              </a:xfrm>
              <a:prstGeom prst="rect">
                <a:avLst/>
              </a:prstGeom>
              <a:noFill/>
            </p:spPr>
          </p:pic>
          <p:pic>
            <p:nvPicPr>
              <p:cNvPr id="723" name="Picture 61" descr="Catalyst6500SR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1752055" y="4586518"/>
                <a:ext cx="57742" cy="47229"/>
              </a:xfrm>
              <a:prstGeom prst="rect">
                <a:avLst/>
              </a:prstGeom>
              <a:noFill/>
            </p:spPr>
          </p:pic>
          <p:pic>
            <p:nvPicPr>
              <p:cNvPr id="724" name="Picture 62" descr="RouterBroadbnd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1950132" y="4481267"/>
                <a:ext cx="65051" cy="60722"/>
              </a:xfrm>
              <a:prstGeom prst="rect">
                <a:avLst/>
              </a:prstGeom>
              <a:noFill/>
            </p:spPr>
          </p:pic>
          <p:pic>
            <p:nvPicPr>
              <p:cNvPr id="725" name="Picture 63" descr="RouterBroadbnd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1869001" y="4513652"/>
                <a:ext cx="65051" cy="60722"/>
              </a:xfrm>
              <a:prstGeom prst="rect">
                <a:avLst/>
              </a:prstGeom>
              <a:noFill/>
            </p:spPr>
          </p:pic>
          <p:sp>
            <p:nvSpPr>
              <p:cNvPr id="726" name="Arc 64"/>
              <p:cNvSpPr>
                <a:spLocks noChangeAspect="1"/>
              </p:cNvSpPr>
              <p:nvPr/>
            </p:nvSpPr>
            <p:spPr bwMode="auto">
              <a:xfrm rot="16296732" flipH="1">
                <a:off x="2024741" y="4433870"/>
                <a:ext cx="106601" cy="355223"/>
              </a:xfrm>
              <a:custGeom>
                <a:avLst/>
                <a:gdLst>
                  <a:gd name="G0" fmla="+- 281 0 0"/>
                  <a:gd name="G1" fmla="+- 21600 0 0"/>
                  <a:gd name="G2" fmla="+- 21600 0 0"/>
                  <a:gd name="T0" fmla="*/ 0 w 21881"/>
                  <a:gd name="T1" fmla="*/ 2 h 21600"/>
                  <a:gd name="T2" fmla="*/ 21881 w 21881"/>
                  <a:gd name="T3" fmla="*/ 21600 h 21600"/>
                  <a:gd name="T4" fmla="*/ 281 w 21881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1881" h="21600" fill="none" extrusionOk="0">
                    <a:moveTo>
                      <a:pt x="-1" y="1"/>
                    </a:moveTo>
                    <a:cubicBezTo>
                      <a:pt x="93" y="0"/>
                      <a:pt x="187" y="-1"/>
                      <a:pt x="281" y="0"/>
                    </a:cubicBezTo>
                    <a:cubicBezTo>
                      <a:pt x="12210" y="0"/>
                      <a:pt x="21881" y="9670"/>
                      <a:pt x="21881" y="21600"/>
                    </a:cubicBezTo>
                  </a:path>
                  <a:path w="21881" h="21600" stroke="0" extrusionOk="0">
                    <a:moveTo>
                      <a:pt x="-1" y="1"/>
                    </a:moveTo>
                    <a:cubicBezTo>
                      <a:pt x="93" y="0"/>
                      <a:pt x="187" y="-1"/>
                      <a:pt x="281" y="0"/>
                    </a:cubicBezTo>
                    <a:cubicBezTo>
                      <a:pt x="12210" y="0"/>
                      <a:pt x="21881" y="9670"/>
                      <a:pt x="21881" y="21600"/>
                    </a:cubicBezTo>
                    <a:lnTo>
                      <a:pt x="281" y="21600"/>
                    </a:lnTo>
                    <a:close/>
                  </a:path>
                </a:pathLst>
              </a:custGeom>
              <a:noFill/>
              <a:ln w="2857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727" name="Picture 65" descr="RouterBroadbnd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222031" y="4637119"/>
                <a:ext cx="65051" cy="60722"/>
              </a:xfrm>
              <a:prstGeom prst="rect">
                <a:avLst/>
              </a:prstGeom>
              <a:noFill/>
            </p:spPr>
          </p:pic>
          <p:pic>
            <p:nvPicPr>
              <p:cNvPr id="728" name="Picture 66" descr="RouterBroadbnd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504894" y="4463049"/>
                <a:ext cx="65051" cy="60722"/>
              </a:xfrm>
              <a:prstGeom prst="rect">
                <a:avLst/>
              </a:prstGeom>
              <a:noFill/>
            </p:spPr>
          </p:pic>
          <p:pic>
            <p:nvPicPr>
              <p:cNvPr id="730" name="Picture 67" descr="RouterBroadbnd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586026" y="4485314"/>
                <a:ext cx="65051" cy="60722"/>
              </a:xfrm>
              <a:prstGeom prst="rect">
                <a:avLst/>
              </a:prstGeom>
              <a:noFill/>
            </p:spPr>
          </p:pic>
          <p:sp>
            <p:nvSpPr>
              <p:cNvPr id="731" name="Freeform 68"/>
              <p:cNvSpPr>
                <a:spLocks noChangeAspect="1"/>
              </p:cNvSpPr>
              <p:nvPr/>
            </p:nvSpPr>
            <p:spPr bwMode="auto">
              <a:xfrm>
                <a:off x="2374061" y="4527819"/>
                <a:ext cx="294557" cy="139660"/>
              </a:xfrm>
              <a:custGeom>
                <a:avLst/>
                <a:gdLst/>
                <a:ahLst/>
                <a:cxnLst>
                  <a:cxn ang="0">
                    <a:pos x="480" y="0"/>
                  </a:cxn>
                  <a:cxn ang="0">
                    <a:pos x="528" y="66"/>
                  </a:cxn>
                  <a:cxn ang="0">
                    <a:pos x="537" y="126"/>
                  </a:cxn>
                  <a:cxn ang="0">
                    <a:pos x="504" y="177"/>
                  </a:cxn>
                  <a:cxn ang="0">
                    <a:pos x="438" y="216"/>
                  </a:cxn>
                  <a:cxn ang="0">
                    <a:pos x="339" y="249"/>
                  </a:cxn>
                  <a:cxn ang="0">
                    <a:pos x="213" y="276"/>
                  </a:cxn>
                  <a:cxn ang="0">
                    <a:pos x="51" y="297"/>
                  </a:cxn>
                  <a:cxn ang="0">
                    <a:pos x="0" y="300"/>
                  </a:cxn>
                </a:cxnLst>
                <a:rect l="0" t="0" r="r" b="b"/>
                <a:pathLst>
                  <a:path w="541" h="301">
                    <a:moveTo>
                      <a:pt x="480" y="0"/>
                    </a:moveTo>
                    <a:cubicBezTo>
                      <a:pt x="500" y="22"/>
                      <a:pt x="519" y="45"/>
                      <a:pt x="528" y="66"/>
                    </a:cubicBezTo>
                    <a:cubicBezTo>
                      <a:pt x="537" y="87"/>
                      <a:pt x="541" y="108"/>
                      <a:pt x="537" y="126"/>
                    </a:cubicBezTo>
                    <a:cubicBezTo>
                      <a:pt x="533" y="144"/>
                      <a:pt x="520" y="162"/>
                      <a:pt x="504" y="177"/>
                    </a:cubicBezTo>
                    <a:cubicBezTo>
                      <a:pt x="488" y="192"/>
                      <a:pt x="465" y="204"/>
                      <a:pt x="438" y="216"/>
                    </a:cubicBezTo>
                    <a:cubicBezTo>
                      <a:pt x="411" y="228"/>
                      <a:pt x="376" y="239"/>
                      <a:pt x="339" y="249"/>
                    </a:cubicBezTo>
                    <a:cubicBezTo>
                      <a:pt x="302" y="259"/>
                      <a:pt x="261" y="268"/>
                      <a:pt x="213" y="276"/>
                    </a:cubicBezTo>
                    <a:cubicBezTo>
                      <a:pt x="165" y="284"/>
                      <a:pt x="86" y="293"/>
                      <a:pt x="51" y="297"/>
                    </a:cubicBezTo>
                    <a:cubicBezTo>
                      <a:pt x="16" y="301"/>
                      <a:pt x="11" y="300"/>
                      <a:pt x="0" y="300"/>
                    </a:cubicBezTo>
                  </a:path>
                </a:pathLst>
              </a:custGeom>
              <a:noFill/>
              <a:ln w="28575" cap="flat" cmpd="sng">
                <a:solidFill>
                  <a:schemeClr val="folHlink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749" name="Picture 69" descr="RouterBroadbnd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309740" y="4637119"/>
                <a:ext cx="65051" cy="60722"/>
              </a:xfrm>
              <a:prstGeom prst="rect">
                <a:avLst/>
              </a:prstGeom>
              <a:noFill/>
            </p:spPr>
          </p:pic>
          <p:pic>
            <p:nvPicPr>
              <p:cNvPr id="750" name="Picture 71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85091" y="4660729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51" name="Picture 72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75992" y="4667971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52" name="Picture 73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66893" y="4675213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53" name="Picture 74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58273" y="4682003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54" name="Picture 75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49174" y="4689245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55" name="Picture 76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38638" y="4696488"/>
                <a:ext cx="36875" cy="35759"/>
              </a:xfrm>
              <a:prstGeom prst="rect">
                <a:avLst/>
              </a:prstGeom>
              <a:noFill/>
            </p:spPr>
          </p:pic>
          <p:sp>
            <p:nvSpPr>
              <p:cNvPr id="756" name="Freeform 77"/>
              <p:cNvSpPr>
                <a:spLocks noChangeAspect="1"/>
              </p:cNvSpPr>
              <p:nvPr/>
            </p:nvSpPr>
            <p:spPr bwMode="auto">
              <a:xfrm>
                <a:off x="1496236" y="4579096"/>
                <a:ext cx="46047" cy="52626"/>
              </a:xfrm>
              <a:custGeom>
                <a:avLst/>
                <a:gdLst/>
                <a:ahLst/>
                <a:cxnLst>
                  <a:cxn ang="0">
                    <a:pos x="0" y="225"/>
                  </a:cxn>
                  <a:cxn ang="0">
                    <a:pos x="168" y="0"/>
                  </a:cxn>
                </a:cxnLst>
                <a:rect l="0" t="0" r="r" b="b"/>
                <a:pathLst>
                  <a:path w="168" h="225">
                    <a:moveTo>
                      <a:pt x="0" y="225"/>
                    </a:moveTo>
                    <a:lnTo>
                      <a:pt x="168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57" name="Freeform 78"/>
              <p:cNvSpPr>
                <a:spLocks noChangeAspect="1"/>
              </p:cNvSpPr>
              <p:nvPr/>
            </p:nvSpPr>
            <p:spPr bwMode="auto">
              <a:xfrm>
                <a:off x="1482350" y="4587192"/>
                <a:ext cx="45317" cy="52626"/>
              </a:xfrm>
              <a:custGeom>
                <a:avLst/>
                <a:gdLst/>
                <a:ahLst/>
                <a:cxnLst>
                  <a:cxn ang="0">
                    <a:pos x="0" y="225"/>
                  </a:cxn>
                  <a:cxn ang="0">
                    <a:pos x="168" y="0"/>
                  </a:cxn>
                </a:cxnLst>
                <a:rect l="0" t="0" r="r" b="b"/>
                <a:pathLst>
                  <a:path w="168" h="225">
                    <a:moveTo>
                      <a:pt x="0" y="225"/>
                    </a:moveTo>
                    <a:lnTo>
                      <a:pt x="168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58" name="Freeform 79"/>
              <p:cNvSpPr>
                <a:spLocks noChangeAspect="1"/>
              </p:cNvSpPr>
              <p:nvPr/>
            </p:nvSpPr>
            <p:spPr bwMode="auto">
              <a:xfrm>
                <a:off x="1508662" y="4572349"/>
                <a:ext cx="45317" cy="52626"/>
              </a:xfrm>
              <a:custGeom>
                <a:avLst/>
                <a:gdLst/>
                <a:ahLst/>
                <a:cxnLst>
                  <a:cxn ang="0">
                    <a:pos x="0" y="225"/>
                  </a:cxn>
                  <a:cxn ang="0">
                    <a:pos x="168" y="0"/>
                  </a:cxn>
                </a:cxnLst>
                <a:rect l="0" t="0" r="r" b="b"/>
                <a:pathLst>
                  <a:path w="168" h="225">
                    <a:moveTo>
                      <a:pt x="0" y="225"/>
                    </a:moveTo>
                    <a:lnTo>
                      <a:pt x="168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59" name="Freeform 80"/>
              <p:cNvSpPr>
                <a:spLocks noChangeAspect="1"/>
              </p:cNvSpPr>
              <p:nvPr/>
            </p:nvSpPr>
            <p:spPr bwMode="auto">
              <a:xfrm>
                <a:off x="1563480" y="4544687"/>
                <a:ext cx="136680" cy="6747"/>
              </a:xfrm>
              <a:custGeom>
                <a:avLst/>
                <a:gdLst/>
                <a:ahLst/>
                <a:cxnLst>
                  <a:cxn ang="0">
                    <a:pos x="0" y="16"/>
                  </a:cxn>
                  <a:cxn ang="0">
                    <a:pos x="250" y="0"/>
                  </a:cxn>
                </a:cxnLst>
                <a:rect l="0" t="0" r="r" b="b"/>
                <a:pathLst>
                  <a:path w="250" h="16">
                    <a:moveTo>
                      <a:pt x="0" y="16"/>
                    </a:moveTo>
                    <a:lnTo>
                      <a:pt x="250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760" name="Picture 82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34658" y="4541309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61" name="Picture 83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25559" y="4548551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62" name="Picture 84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16460" y="4555793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63" name="Picture 85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507840" y="4562583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64" name="Picture 86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98741" y="4569825"/>
                <a:ext cx="36875" cy="35759"/>
              </a:xfrm>
              <a:prstGeom prst="rect">
                <a:avLst/>
              </a:prstGeom>
              <a:noFill/>
            </p:spPr>
          </p:pic>
          <p:pic>
            <p:nvPicPr>
              <p:cNvPr id="765" name="Picture 87" descr="switch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1488205" y="4577068"/>
                <a:ext cx="36875" cy="35759"/>
              </a:xfrm>
              <a:prstGeom prst="rect">
                <a:avLst/>
              </a:prstGeom>
              <a:noFill/>
            </p:spPr>
          </p:pic>
          <p:sp>
            <p:nvSpPr>
              <p:cNvPr id="766" name="Freeform 88"/>
              <p:cNvSpPr>
                <a:spLocks noChangeAspect="1"/>
              </p:cNvSpPr>
              <p:nvPr/>
            </p:nvSpPr>
            <p:spPr bwMode="auto">
              <a:xfrm>
                <a:off x="1558364" y="4548735"/>
                <a:ext cx="143259" cy="10795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263" y="0"/>
                  </a:cxn>
                </a:cxnLst>
                <a:rect l="0" t="0" r="r" b="b"/>
                <a:pathLst>
                  <a:path w="263" h="23">
                    <a:moveTo>
                      <a:pt x="0" y="23"/>
                    </a:moveTo>
                    <a:lnTo>
                      <a:pt x="263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67" name="Freeform 89"/>
              <p:cNvSpPr>
                <a:spLocks noChangeAspect="1"/>
              </p:cNvSpPr>
              <p:nvPr/>
            </p:nvSpPr>
            <p:spPr bwMode="auto">
              <a:xfrm>
                <a:off x="1512317" y="4568975"/>
                <a:ext cx="192229" cy="29686"/>
              </a:xfrm>
              <a:custGeom>
                <a:avLst/>
                <a:gdLst/>
                <a:ahLst/>
                <a:cxnLst>
                  <a:cxn ang="0">
                    <a:pos x="0" y="62"/>
                  </a:cxn>
                  <a:cxn ang="0">
                    <a:pos x="352" y="0"/>
                  </a:cxn>
                </a:cxnLst>
                <a:rect l="0" t="0" r="r" b="b"/>
                <a:pathLst>
                  <a:path w="352" h="62">
                    <a:moveTo>
                      <a:pt x="0" y="62"/>
                    </a:moveTo>
                    <a:lnTo>
                      <a:pt x="352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68" name="Freeform 90"/>
              <p:cNvSpPr>
                <a:spLocks noChangeAspect="1"/>
              </p:cNvSpPr>
              <p:nvPr/>
            </p:nvSpPr>
            <p:spPr bwMode="auto">
              <a:xfrm>
                <a:off x="1550324" y="4554133"/>
                <a:ext cx="152761" cy="1416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80" y="0"/>
                  </a:cxn>
                </a:cxnLst>
                <a:rect l="0" t="0" r="r" b="b"/>
                <a:pathLst>
                  <a:path w="280" h="29">
                    <a:moveTo>
                      <a:pt x="0" y="29"/>
                    </a:moveTo>
                    <a:lnTo>
                      <a:pt x="280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69" name="Freeform 91"/>
              <p:cNvSpPr>
                <a:spLocks noChangeAspect="1"/>
              </p:cNvSpPr>
              <p:nvPr/>
            </p:nvSpPr>
            <p:spPr bwMode="auto">
              <a:xfrm>
                <a:off x="1529858" y="4564928"/>
                <a:ext cx="175419" cy="19566"/>
              </a:xfrm>
              <a:custGeom>
                <a:avLst/>
                <a:gdLst/>
                <a:ahLst/>
                <a:cxnLst>
                  <a:cxn ang="0">
                    <a:pos x="323" y="0"/>
                  </a:cxn>
                  <a:cxn ang="0">
                    <a:pos x="0" y="43"/>
                  </a:cxn>
                </a:cxnLst>
                <a:rect l="0" t="0" r="r" b="b"/>
                <a:pathLst>
                  <a:path w="323" h="43">
                    <a:moveTo>
                      <a:pt x="323" y="0"/>
                    </a:moveTo>
                    <a:lnTo>
                      <a:pt x="0" y="43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770" name="Picture 92" descr="Catalyst6500SR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1688467" y="4531868"/>
                <a:ext cx="57742" cy="47229"/>
              </a:xfrm>
              <a:prstGeom prst="rect">
                <a:avLst/>
              </a:prstGeom>
              <a:noFill/>
            </p:spPr>
          </p:pic>
          <p:sp>
            <p:nvSpPr>
              <p:cNvPr id="771" name="Freeform 93"/>
              <p:cNvSpPr>
                <a:spLocks noChangeAspect="1"/>
              </p:cNvSpPr>
              <p:nvPr/>
            </p:nvSpPr>
            <p:spPr bwMode="auto">
              <a:xfrm>
                <a:off x="1539361" y="4560204"/>
                <a:ext cx="162263" cy="16192"/>
              </a:xfrm>
              <a:custGeom>
                <a:avLst/>
                <a:gdLst/>
                <a:ahLst/>
                <a:cxnLst>
                  <a:cxn ang="0">
                    <a:pos x="0" y="35"/>
                  </a:cxn>
                  <a:cxn ang="0">
                    <a:pos x="299" y="0"/>
                  </a:cxn>
                </a:cxnLst>
                <a:rect l="0" t="0" r="r" b="b"/>
                <a:pathLst>
                  <a:path w="299" h="35">
                    <a:moveTo>
                      <a:pt x="0" y="35"/>
                    </a:moveTo>
                    <a:lnTo>
                      <a:pt x="299" y="0"/>
                    </a:lnTo>
                  </a:path>
                </a:pathLst>
              </a:custGeom>
              <a:noFill/>
              <a:ln w="9525">
                <a:solidFill>
                  <a:srgbClr val="F6AC28"/>
                </a:solidFill>
                <a:round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72" name="Line 94"/>
              <p:cNvSpPr>
                <a:spLocks noChangeShapeType="1"/>
              </p:cNvSpPr>
              <p:nvPr/>
            </p:nvSpPr>
            <p:spPr bwMode="auto">
              <a:xfrm flipH="1" flipV="1">
                <a:off x="2546556" y="5231518"/>
                <a:ext cx="169571" cy="275272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73" name="Line 99"/>
              <p:cNvSpPr>
                <a:spLocks noChangeShapeType="1"/>
              </p:cNvSpPr>
              <p:nvPr/>
            </p:nvSpPr>
            <p:spPr bwMode="auto">
              <a:xfrm flipV="1">
                <a:off x="2659847" y="5549970"/>
                <a:ext cx="63590" cy="122794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774" name="Rectangle 102"/>
              <p:cNvSpPr>
                <a:spLocks noChangeArrowheads="1"/>
              </p:cNvSpPr>
              <p:nvPr/>
            </p:nvSpPr>
            <p:spPr bwMode="auto">
              <a:xfrm>
                <a:off x="2388679" y="5446069"/>
                <a:ext cx="271169" cy="168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endParaRPr lang="en-GB" sz="800" dirty="0">
                  <a:latin typeface="+mn-lt"/>
                </a:endParaRPr>
              </a:p>
            </p:txBody>
          </p:sp>
          <p:sp>
            <p:nvSpPr>
              <p:cNvPr id="775" name="Freeform 105"/>
              <p:cNvSpPr>
                <a:spLocks noChangeAspect="1"/>
              </p:cNvSpPr>
              <p:nvPr/>
            </p:nvSpPr>
            <p:spPr bwMode="gray">
              <a:xfrm flipV="1">
                <a:off x="3021939" y="4775122"/>
                <a:ext cx="477725" cy="45719"/>
              </a:xfrm>
              <a:custGeom>
                <a:avLst/>
                <a:gdLst>
                  <a:gd name="connsiteX0" fmla="*/ 0 w 754"/>
                  <a:gd name="connsiteY0" fmla="*/ 0 h 0"/>
                  <a:gd name="connsiteX1" fmla="*/ 754 w 754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">
                    <a:moveTo>
                      <a:pt x="0" y="0"/>
                    </a:moveTo>
                    <a:lnTo>
                      <a:pt x="754" y="0"/>
                    </a:lnTo>
                  </a:path>
                </a:pathLst>
              </a:custGeom>
              <a:noFill/>
              <a:ln w="28575" cmpd="sng">
                <a:solidFill>
                  <a:srgbClr val="FF0000"/>
                </a:solidFill>
                <a:round/>
                <a:headEnd/>
                <a:tailEnd type="triangle" w="med" len="med"/>
              </a:ln>
              <a:effectLst/>
            </p:spPr>
            <p:txBody>
              <a:bodyPr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776" name="Picture 111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2559713" y="5663318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777" name="Rectangle 112"/>
              <p:cNvSpPr>
                <a:spLocks noChangeArrowheads="1"/>
              </p:cNvSpPr>
              <p:nvPr/>
            </p:nvSpPr>
            <p:spPr bwMode="auto">
              <a:xfrm>
                <a:off x="2539633" y="5075481"/>
                <a:ext cx="466120" cy="1659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None/>
                </a:pPr>
                <a:r>
                  <a:rPr lang="en-US" sz="500" dirty="0" smtClean="0"/>
                  <a:t>H323 GK</a:t>
                </a:r>
              </a:p>
            </p:txBody>
          </p:sp>
          <p:sp>
            <p:nvSpPr>
              <p:cNvPr id="778" name="Rectangle 131"/>
              <p:cNvSpPr>
                <a:spLocks noChangeArrowheads="1"/>
              </p:cNvSpPr>
              <p:nvPr/>
            </p:nvSpPr>
            <p:spPr bwMode="auto">
              <a:xfrm>
                <a:off x="2317826" y="5446069"/>
                <a:ext cx="342021" cy="168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Tx/>
                  <a:buSzTx/>
                  <a:buNone/>
                </a:pPr>
                <a:r>
                  <a:rPr lang="en-US" sz="500" dirty="0" smtClean="0"/>
                  <a:t>H323 GW</a:t>
                </a:r>
                <a:endParaRPr lang="en-US" sz="500" dirty="0"/>
              </a:p>
            </p:txBody>
          </p:sp>
          <p:pic>
            <p:nvPicPr>
              <p:cNvPr id="779" name="Picture 133" descr="virtual switch controller"/>
              <p:cNvPicPr>
                <a:picLocks noChangeAspect="1"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3096201" y="4680299"/>
                <a:ext cx="286517" cy="29753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780" name="Text Box 169"/>
              <p:cNvSpPr txBox="1">
                <a:spLocks noChangeAspect="1" noChangeArrowheads="1"/>
              </p:cNvSpPr>
              <p:nvPr/>
            </p:nvSpPr>
            <p:spPr bwMode="auto">
              <a:xfrm>
                <a:off x="3473663" y="4715489"/>
                <a:ext cx="711398" cy="1821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r>
                  <a:rPr lang="it-IT" sz="600" dirty="0">
                    <a:solidFill>
                      <a:srgbClr val="C00000"/>
                    </a:solidFill>
                    <a:latin typeface="+mn-lt"/>
                  </a:rPr>
                  <a:t>PSTN/PLMN </a:t>
                </a:r>
                <a:endParaRPr lang="en-GB" sz="600" dirty="0">
                  <a:solidFill>
                    <a:srgbClr val="C00000"/>
                  </a:solidFill>
                  <a:latin typeface="+mn-lt"/>
                </a:endParaRPr>
              </a:p>
            </p:txBody>
          </p:sp>
          <p:sp>
            <p:nvSpPr>
              <p:cNvPr id="813" name="Line 95"/>
              <p:cNvSpPr>
                <a:spLocks noChangeShapeType="1"/>
              </p:cNvSpPr>
              <p:nvPr/>
            </p:nvSpPr>
            <p:spPr bwMode="auto">
              <a:xfrm flipV="1">
                <a:off x="1570031" y="5379239"/>
                <a:ext cx="0" cy="194310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814" name="Line 96"/>
              <p:cNvSpPr>
                <a:spLocks noChangeShapeType="1"/>
              </p:cNvSpPr>
              <p:nvPr/>
            </p:nvSpPr>
            <p:spPr bwMode="auto">
              <a:xfrm flipV="1">
                <a:off x="900166" y="5089567"/>
                <a:ext cx="175419" cy="259080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815" name="Line 97"/>
              <p:cNvSpPr>
                <a:spLocks noChangeShapeType="1"/>
              </p:cNvSpPr>
              <p:nvPr/>
            </p:nvSpPr>
            <p:spPr bwMode="auto">
              <a:xfrm flipV="1">
                <a:off x="826345" y="5381032"/>
                <a:ext cx="63590" cy="122794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816" name="Line 98"/>
              <p:cNvSpPr>
                <a:spLocks noChangeShapeType="1"/>
              </p:cNvSpPr>
              <p:nvPr/>
            </p:nvSpPr>
            <p:spPr bwMode="auto">
              <a:xfrm flipV="1">
                <a:off x="1496211" y="5595139"/>
                <a:ext cx="63590" cy="122794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sp>
            <p:nvSpPr>
              <p:cNvPr id="817" name="Rectangle 101"/>
              <p:cNvSpPr>
                <a:spLocks noChangeArrowheads="1"/>
              </p:cNvSpPr>
              <p:nvPr/>
            </p:nvSpPr>
            <p:spPr bwMode="auto">
              <a:xfrm>
                <a:off x="1615818" y="5439344"/>
                <a:ext cx="383198" cy="1686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  <a:buClrTx/>
                  <a:buSzTx/>
                  <a:buNone/>
                </a:pPr>
                <a:r>
                  <a:rPr lang="en-US" sz="500" dirty="0" smtClean="0"/>
                  <a:t>H323 GW</a:t>
                </a:r>
                <a:endParaRPr lang="en-US" sz="500" dirty="0"/>
              </a:p>
            </p:txBody>
          </p:sp>
          <p:sp>
            <p:nvSpPr>
              <p:cNvPr id="818" name="Rectangle 103"/>
              <p:cNvSpPr>
                <a:spLocks noChangeArrowheads="1"/>
              </p:cNvSpPr>
              <p:nvPr/>
            </p:nvSpPr>
            <p:spPr bwMode="auto">
              <a:xfrm>
                <a:off x="713433" y="4710198"/>
                <a:ext cx="488066" cy="152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None/>
                </a:pPr>
                <a:r>
                  <a:rPr lang="en-US" sz="500" dirty="0" smtClean="0"/>
                  <a:t>H323 GK</a:t>
                </a:r>
              </a:p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endParaRPr lang="en-GB" sz="500" dirty="0">
                  <a:latin typeface="+mn-lt"/>
                </a:endParaRPr>
              </a:p>
            </p:txBody>
          </p:sp>
          <p:sp>
            <p:nvSpPr>
              <p:cNvPr id="819" name="Rectangle 104"/>
              <p:cNvSpPr>
                <a:spLocks noChangeArrowheads="1"/>
              </p:cNvSpPr>
              <p:nvPr/>
            </p:nvSpPr>
            <p:spPr bwMode="auto">
              <a:xfrm>
                <a:off x="1114474" y="5191248"/>
                <a:ext cx="448120" cy="1696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noAutofit/>
              </a:bodyPr>
              <a:lstStyle/>
              <a:p>
                <a:pPr algn="ctr">
                  <a:spcBef>
                    <a:spcPct val="50000"/>
                  </a:spcBef>
                  <a:buClrTx/>
                  <a:buSzTx/>
                  <a:buNone/>
                </a:pPr>
                <a:r>
                  <a:rPr lang="en-US" sz="500" dirty="0" smtClean="0"/>
                  <a:t>H323 GK</a:t>
                </a:r>
              </a:p>
              <a:p>
                <a:pPr algn="ctr">
                  <a:spcBef>
                    <a:spcPct val="50000"/>
                  </a:spcBef>
                  <a:buClrTx/>
                  <a:buSzTx/>
                  <a:buFontTx/>
                  <a:buNone/>
                </a:pPr>
                <a:endParaRPr lang="en-GB" sz="500" dirty="0"/>
              </a:p>
            </p:txBody>
          </p:sp>
          <p:pic>
            <p:nvPicPr>
              <p:cNvPr id="820" name="Picture 109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708668" y="5445802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821" name="Picture 110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1378534" y="5703089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822" name="Picture 114" descr="Softswtch-generic"/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1019776" y="4845304"/>
                <a:ext cx="254361" cy="34560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823" name="Picture 114" descr="Softswtch-generic"/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2384711" y="5045989"/>
                <a:ext cx="254361" cy="34560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824" name="Picture 114" descr="Softswtch-generic"/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1472575" y="5091257"/>
                <a:ext cx="254361" cy="34560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825" name="Line 99"/>
              <p:cNvSpPr>
                <a:spLocks noChangeShapeType="1"/>
              </p:cNvSpPr>
              <p:nvPr/>
            </p:nvSpPr>
            <p:spPr bwMode="auto">
              <a:xfrm flipH="1" flipV="1">
                <a:off x="2776194" y="5548197"/>
                <a:ext cx="152824" cy="116857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826" name="Picture 111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2828883" y="5655609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827" name="Picture 108" descr="voicerouter"/>
              <p:cNvPicPr preferRelativeResize="0"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2616723" y="5421105"/>
                <a:ext cx="231699" cy="16192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828" name="Line 99"/>
              <p:cNvSpPr>
                <a:spLocks noChangeShapeType="1"/>
              </p:cNvSpPr>
              <p:nvPr/>
            </p:nvSpPr>
            <p:spPr bwMode="auto">
              <a:xfrm flipH="1" flipV="1">
                <a:off x="1619209" y="5600974"/>
                <a:ext cx="152824" cy="116857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829" name="Picture 111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1671898" y="5708386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830" name="Picture 107" descr="voicerouter"/>
              <p:cNvPicPr preferRelativeResize="0"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1453086" y="5471671"/>
                <a:ext cx="231699" cy="16192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sp>
            <p:nvSpPr>
              <p:cNvPr id="831" name="Line 99"/>
              <p:cNvSpPr>
                <a:spLocks noChangeShapeType="1"/>
              </p:cNvSpPr>
              <p:nvPr/>
            </p:nvSpPr>
            <p:spPr bwMode="auto">
              <a:xfrm flipH="1" flipV="1">
                <a:off x="947888" y="5351322"/>
                <a:ext cx="152824" cy="116857"/>
              </a:xfrm>
              <a:prstGeom prst="line">
                <a:avLst/>
              </a:prstGeom>
              <a:noFill/>
              <a:ln w="9525">
                <a:solidFill>
                  <a:srgbClr val="0066FF"/>
                </a:solidFill>
                <a:round/>
                <a:headEnd/>
                <a:tailEnd/>
              </a:ln>
              <a:effectLst/>
            </p:spPr>
            <p:txBody>
              <a:bodyPr anchor="ctr">
                <a:noAutofit/>
              </a:bodyPr>
              <a:lstStyle/>
              <a:p>
                <a:endParaRPr lang="it-IT" sz="800">
                  <a:latin typeface="+mn-lt"/>
                </a:endParaRPr>
              </a:p>
            </p:txBody>
          </p:sp>
          <p:pic>
            <p:nvPicPr>
              <p:cNvPr id="832" name="Picture 111" descr="IP phone"/>
              <p:cNvPicPr>
                <a:picLocks noChangeAspect="1"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1000577" y="5458734"/>
                <a:ext cx="197347" cy="146407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833" name="Picture 106" descr="voicerouter"/>
              <p:cNvPicPr preferRelativeResize="0"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800762" y="5252167"/>
                <a:ext cx="231699" cy="16192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</p:grpSp>
      </p:grpSp>
      <p:pic>
        <p:nvPicPr>
          <p:cNvPr id="45057" name="Picture 1" descr="C:\Users\groda\Pictures\Microsoft Clip Organizer\Freccia9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 rot="3223520">
            <a:off x="4343720" y="4370653"/>
            <a:ext cx="1327788" cy="1327788"/>
          </a:xfrm>
          <a:prstGeom prst="rect">
            <a:avLst/>
          </a:prstGeom>
          <a:noFill/>
        </p:spPr>
      </p:pic>
      <p:sp>
        <p:nvSpPr>
          <p:cNvPr id="372" name="Slide Number Placeholder 37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7</a:t>
            </a:fld>
            <a:endParaRPr lang="it-IT" sz="1400">
              <a:latin typeface="Times New Roman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50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500"/>
                            </p:stCondLst>
                            <p:childTnLst>
                              <p:par>
                                <p:cTn id="4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2500"/>
                            </p:stCondLst>
                            <p:childTnLst>
                              <p:par>
                                <p:cTn id="5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0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45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500"/>
                            </p:stCondLst>
                            <p:childTnLst>
                              <p:par>
                                <p:cTn id="6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4" grpId="0" animBg="1"/>
      <p:bldP spid="257" grpId="0" animBg="1"/>
      <p:bldP spid="264" grpId="0" animBg="1"/>
      <p:bldP spid="265" grpId="0" animBg="1"/>
      <p:bldP spid="266" grpId="0" animBg="1"/>
      <p:bldP spid="267" grpId="0" animBg="1"/>
      <p:bldP spid="26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Slide Number Placeholder 8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8</a:t>
            </a:fld>
            <a:endParaRPr lang="it-IT"/>
          </a:p>
        </p:txBody>
      </p:sp>
      <p:pic>
        <p:nvPicPr>
          <p:cNvPr id="4" name="Picture Placeholder 3" descr="Adv2.jpg"/>
          <p:cNvPicPr>
            <a:picLocks noGrp="1" noChangeAspect="1"/>
          </p:cNvPicPr>
          <p:nvPr>
            <p:ph type="pic" idx="1"/>
          </p:nvPr>
        </p:nvPicPr>
        <p:blipFill>
          <a:blip r:embed="rId2" cstate="print"/>
          <a:srcRect t="15084" b="15084"/>
          <a:stretch>
            <a:fillRect/>
          </a:stretch>
        </p:blipFill>
        <p:spPr/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pplication </a:t>
            </a:r>
            <a:r>
              <a:rPr lang="it-IT" dirty="0" smtClean="0"/>
              <a:t>Aware Network</a:t>
            </a:r>
            <a:endParaRPr lang="it-IT" dirty="0"/>
          </a:p>
        </p:txBody>
      </p:sp>
      <p:sp>
        <p:nvSpPr>
          <p:cNvPr id="98" name="Rounded Rectangle 97"/>
          <p:cNvSpPr/>
          <p:nvPr/>
        </p:nvSpPr>
        <p:spPr>
          <a:xfrm>
            <a:off x="6565233" y="1823173"/>
            <a:ext cx="2880000" cy="3821642"/>
          </a:xfrm>
          <a:prstGeom prst="roundRect">
            <a:avLst>
              <a:gd name="adj" fmla="val 1158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rmAutofit/>
          </a:bodyPr>
          <a:lstStyle/>
          <a:p>
            <a:pPr marL="174625" indent="-174625" algn="ctr">
              <a:lnSpc>
                <a:spcPct val="90000"/>
              </a:lnSpc>
            </a:pPr>
            <a:r>
              <a:rPr lang="it-IT" b="1" spc="150" dirty="0" smtClean="0">
                <a:ln w="11430"/>
                <a:solidFill>
                  <a:schemeClr val="tx1">
                    <a:lumMod val="85000"/>
                    <a:lumOff val="15000"/>
                  </a:schemeClr>
                </a:solidFill>
                <a:latin typeface="Interstate-Light" pitchFamily="2" charset="0"/>
              </a:rPr>
              <a:t>Gestione</a:t>
            </a:r>
          </a:p>
        </p:txBody>
      </p:sp>
      <p:sp>
        <p:nvSpPr>
          <p:cNvPr id="97" name="Rounded Rectangle 96"/>
          <p:cNvSpPr/>
          <p:nvPr/>
        </p:nvSpPr>
        <p:spPr>
          <a:xfrm>
            <a:off x="3526758" y="1823173"/>
            <a:ext cx="2880000" cy="3821642"/>
          </a:xfrm>
          <a:prstGeom prst="roundRect">
            <a:avLst>
              <a:gd name="adj" fmla="val 1158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rmAutofit/>
          </a:bodyPr>
          <a:lstStyle/>
          <a:p>
            <a:pPr marL="174625" indent="-174625" algn="ctr">
              <a:lnSpc>
                <a:spcPct val="90000"/>
              </a:lnSpc>
            </a:pPr>
            <a:r>
              <a:rPr lang="it-IT" b="1" spc="150" dirty="0" smtClean="0">
                <a:ln w="11430"/>
                <a:solidFill>
                  <a:schemeClr val="tx1">
                    <a:lumMod val="85000"/>
                    <a:lumOff val="15000"/>
                  </a:schemeClr>
                </a:solidFill>
                <a:latin typeface="Interstate-Light" pitchFamily="2" charset="0"/>
              </a:rPr>
              <a:t>Economics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474423" y="1823173"/>
            <a:ext cx="2880000" cy="3821642"/>
          </a:xfrm>
          <a:prstGeom prst="roundRect">
            <a:avLst>
              <a:gd name="adj" fmla="val 1158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normAutofit/>
          </a:bodyPr>
          <a:lstStyle/>
          <a:p>
            <a:pPr marL="174625" indent="-174625" algn="ctr">
              <a:lnSpc>
                <a:spcPct val="90000"/>
              </a:lnSpc>
            </a:pPr>
            <a:r>
              <a:rPr lang="it-IT" b="1" spc="150" dirty="0" smtClean="0">
                <a:ln w="11430"/>
                <a:solidFill>
                  <a:schemeClr val="tx1">
                    <a:lumMod val="85000"/>
                    <a:lumOff val="15000"/>
                  </a:schemeClr>
                </a:solidFill>
                <a:latin typeface="Interstate-Light" pitchFamily="2" charset="0"/>
              </a:rPr>
              <a:t>Richiesta</a:t>
            </a:r>
          </a:p>
        </p:txBody>
      </p:sp>
      <p:grpSp>
        <p:nvGrpSpPr>
          <p:cNvPr id="87" name="Group 86"/>
          <p:cNvGrpSpPr/>
          <p:nvPr/>
        </p:nvGrpSpPr>
        <p:grpSpPr>
          <a:xfrm>
            <a:off x="662650" y="2387835"/>
            <a:ext cx="2304000" cy="767042"/>
            <a:chOff x="662650" y="1975950"/>
            <a:chExt cx="2304000" cy="767042"/>
          </a:xfrm>
        </p:grpSpPr>
        <p:sp>
          <p:nvSpPr>
            <p:cNvPr id="31" name="Rounded Rectangle 30"/>
            <p:cNvSpPr/>
            <p:nvPr/>
          </p:nvSpPr>
          <p:spPr>
            <a:xfrm>
              <a:off x="662650" y="1975950"/>
              <a:ext cx="2304000" cy="767042"/>
            </a:xfrm>
            <a:prstGeom prst="roundRect">
              <a:avLst>
                <a:gd name="adj" fmla="val 3402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rmAutofit/>
            </a:bodyPr>
            <a:lstStyle/>
            <a:p>
              <a:pPr marL="174625" indent="-174625" algn="ctr">
                <a:lnSpc>
                  <a:spcPct val="90000"/>
                </a:lnSpc>
              </a:pPr>
              <a:r>
                <a:rPr lang="it-IT" sz="1400" b="1" spc="150" dirty="0" smtClean="0">
                  <a:ln w="11430"/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25400" algn="tl" rotWithShape="0">
                      <a:srgbClr val="000000">
                        <a:alpha val="43000"/>
                      </a:srgbClr>
                    </a:outerShdw>
                  </a:effectLst>
                  <a:latin typeface="Interstate-Light" pitchFamily="2" charset="0"/>
                </a:rPr>
                <a:t>2000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778902" y="2228632"/>
              <a:ext cx="2045317" cy="452560"/>
              <a:chOff x="4909457" y="2973949"/>
              <a:chExt cx="2840718" cy="628556"/>
            </a:xfrm>
          </p:grpSpPr>
          <p:sp>
            <p:nvSpPr>
              <p:cNvPr id="20" name="AutoShape 4"/>
              <p:cNvSpPr>
                <a:spLocks noChangeArrowheads="1"/>
              </p:cNvSpPr>
              <p:nvPr/>
            </p:nvSpPr>
            <p:spPr bwMode="auto">
              <a:xfrm rot="5400000">
                <a:off x="6112328" y="1964659"/>
                <a:ext cx="434975" cy="2840718"/>
              </a:xfrm>
              <a:prstGeom prst="can">
                <a:avLst>
                  <a:gd name="adj" fmla="val 30250"/>
                </a:avLst>
              </a:prstGeom>
              <a:gradFill>
                <a:gsLst>
                  <a:gs pos="0">
                    <a:srgbClr val="FBE4AE"/>
                  </a:gs>
                  <a:gs pos="13000">
                    <a:srgbClr val="BD922A"/>
                  </a:gs>
                  <a:gs pos="21001">
                    <a:srgbClr val="BD922A"/>
                  </a:gs>
                  <a:gs pos="63000">
                    <a:srgbClr val="FBE4AE"/>
                  </a:gs>
                  <a:gs pos="67000">
                    <a:srgbClr val="BD922A"/>
                  </a:gs>
                  <a:gs pos="69000">
                    <a:srgbClr val="835E17"/>
                  </a:gs>
                  <a:gs pos="82001">
                    <a:srgbClr val="A28949"/>
                  </a:gs>
                  <a:gs pos="100000">
                    <a:srgbClr val="FAE3B7"/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rot="10800000" vert="eaVert" wrap="none" anchor="ctr"/>
              <a:lstStyle/>
              <a:p>
                <a:pPr algn="ctr" fontAlgn="auto">
                  <a:spcAft>
                    <a:spcPts val="0"/>
                  </a:spcAft>
                  <a:defRPr/>
                </a:pPr>
                <a:r>
                  <a:rPr lang="en-US" sz="1200" b="1" dirty="0">
                    <a:cs typeface="+mn-cs"/>
                  </a:rPr>
                  <a:t>http</a:t>
                </a:r>
              </a:p>
            </p:txBody>
          </p:sp>
          <p:sp>
            <p:nvSpPr>
              <p:cNvPr id="21" name="AutoShape 4"/>
              <p:cNvSpPr>
                <a:spLocks noChangeArrowheads="1"/>
              </p:cNvSpPr>
              <p:nvPr/>
            </p:nvSpPr>
            <p:spPr bwMode="auto">
              <a:xfrm rot="5400000">
                <a:off x="6228797" y="1678415"/>
                <a:ext cx="188913" cy="2779981"/>
              </a:xfrm>
              <a:prstGeom prst="can">
                <a:avLst>
                  <a:gd name="adj" fmla="val 30250"/>
                </a:avLst>
              </a:prstGeom>
              <a:gradFill>
                <a:gsLst>
                  <a:gs pos="0">
                    <a:srgbClr val="FFFFFF"/>
                  </a:gs>
                  <a:gs pos="17999">
                    <a:srgbClr val="FFFFFF"/>
                  </a:gs>
                  <a:gs pos="42000">
                    <a:srgbClr val="636363"/>
                  </a:gs>
                  <a:gs pos="53000">
                    <a:srgbClr val="CFCFCF"/>
                  </a:gs>
                  <a:gs pos="66000">
                    <a:srgbClr val="CFCFCF"/>
                  </a:gs>
                  <a:gs pos="78999">
                    <a:srgbClr val="FFFFFF"/>
                  </a:gs>
                  <a:gs pos="100000">
                    <a:srgbClr val="7F7F7F"/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rot="10800000" vert="eaVert" wrap="none" anchor="ctr"/>
              <a:lstStyle/>
              <a:p>
                <a:pPr algn="ctr" fontAlgn="auto">
                  <a:spcAft>
                    <a:spcPts val="0"/>
                  </a:spcAft>
                  <a:defRPr/>
                </a:pPr>
                <a:r>
                  <a:rPr lang="en-US" sz="1200" b="1" dirty="0">
                    <a:cs typeface="+mn-cs"/>
                  </a:rPr>
                  <a:t>Email</a:t>
                </a:r>
              </a:p>
            </p:txBody>
          </p:sp>
        </p:grpSp>
      </p:grpSp>
      <p:grpSp>
        <p:nvGrpSpPr>
          <p:cNvPr id="88" name="Group 87"/>
          <p:cNvGrpSpPr/>
          <p:nvPr/>
        </p:nvGrpSpPr>
        <p:grpSpPr>
          <a:xfrm>
            <a:off x="652801" y="3328718"/>
            <a:ext cx="2304000" cy="2064741"/>
            <a:chOff x="652801" y="2916833"/>
            <a:chExt cx="2304000" cy="2064741"/>
          </a:xfrm>
        </p:grpSpPr>
        <p:sp>
          <p:nvSpPr>
            <p:cNvPr id="32" name="Rounded Rectangle 31"/>
            <p:cNvSpPr/>
            <p:nvPr/>
          </p:nvSpPr>
          <p:spPr>
            <a:xfrm>
              <a:off x="652801" y="2916833"/>
              <a:ext cx="2304000" cy="2064741"/>
            </a:xfrm>
            <a:prstGeom prst="roundRect">
              <a:avLst>
                <a:gd name="adj" fmla="val 3402"/>
              </a:avLst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>
              <a:normAutofit/>
            </a:bodyPr>
            <a:lstStyle/>
            <a:p>
              <a:pPr marL="174625" indent="-174625" algn="ctr">
                <a:lnSpc>
                  <a:spcPct val="90000"/>
                </a:lnSpc>
              </a:pPr>
              <a:r>
                <a:rPr lang="it-IT" sz="1400" b="1" spc="150" dirty="0" smtClean="0">
                  <a:ln w="11430"/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25400" algn="tl" rotWithShape="0">
                      <a:srgbClr val="000000">
                        <a:alpha val="43000"/>
                      </a:srgbClr>
                    </a:outerShdw>
                  </a:effectLst>
                  <a:latin typeface="Interstate-Light" pitchFamily="2" charset="0"/>
                </a:rPr>
                <a:t>2009</a:t>
              </a: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792074" y="3165008"/>
              <a:ext cx="2092639" cy="1706173"/>
              <a:chOff x="4886325" y="4201889"/>
              <a:chExt cx="2092639" cy="2369685"/>
            </a:xfrm>
          </p:grpSpPr>
          <p:sp>
            <p:nvSpPr>
              <p:cNvPr id="24" name="AutoShape 4"/>
              <p:cNvSpPr>
                <a:spLocks noChangeArrowheads="1"/>
              </p:cNvSpPr>
              <p:nvPr/>
            </p:nvSpPr>
            <p:spPr bwMode="auto">
              <a:xfrm rot="5400000">
                <a:off x="5803944" y="3284270"/>
                <a:ext cx="214313" cy="2049551"/>
              </a:xfrm>
              <a:prstGeom prst="can">
                <a:avLst>
                  <a:gd name="adj" fmla="val 30196"/>
                </a:avLst>
              </a:prstGeom>
              <a:gradFill>
                <a:gsLst>
                  <a:gs pos="0">
                    <a:srgbClr val="000082"/>
                  </a:gs>
                  <a:gs pos="13000">
                    <a:srgbClr val="0066FF"/>
                  </a:gs>
                  <a:gs pos="28000">
                    <a:srgbClr val="66CCFF"/>
                  </a:gs>
                  <a:gs pos="42999">
                    <a:srgbClr val="0066FF"/>
                  </a:gs>
                  <a:gs pos="58000">
                    <a:srgbClr val="0000CC"/>
                  </a:gs>
                  <a:gs pos="72000">
                    <a:srgbClr val="0066FF"/>
                  </a:gs>
                  <a:gs pos="87000">
                    <a:srgbClr val="002060"/>
                  </a:gs>
                  <a:gs pos="100000">
                    <a:srgbClr val="0047FF"/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pPr algn="ctr"/>
                <a:r>
                  <a:rPr lang="en-US" sz="1200" b="1" dirty="0" smtClean="0"/>
                  <a:t>VoIP</a:t>
                </a:r>
                <a:endParaRPr lang="en-US" sz="1200" b="1" dirty="0"/>
              </a:p>
            </p:txBody>
          </p:sp>
          <p:sp>
            <p:nvSpPr>
              <p:cNvPr id="25" name="AutoShape 4"/>
              <p:cNvSpPr>
                <a:spLocks noChangeArrowheads="1"/>
              </p:cNvSpPr>
              <p:nvPr/>
            </p:nvSpPr>
            <p:spPr bwMode="auto">
              <a:xfrm rot="5400000">
                <a:off x="5758454" y="3547474"/>
                <a:ext cx="319088" cy="2063346"/>
              </a:xfrm>
              <a:prstGeom prst="can">
                <a:avLst>
                  <a:gd name="adj" fmla="val 30264"/>
                </a:avLst>
              </a:prstGeom>
              <a:gradFill>
                <a:gsLst>
                  <a:gs pos="0">
                    <a:srgbClr val="FBE4AE"/>
                  </a:gs>
                  <a:gs pos="13000">
                    <a:srgbClr val="BD922A"/>
                  </a:gs>
                  <a:gs pos="21001">
                    <a:srgbClr val="BD922A"/>
                  </a:gs>
                  <a:gs pos="63000">
                    <a:srgbClr val="FBE4AE"/>
                  </a:gs>
                  <a:gs pos="67000">
                    <a:srgbClr val="BD922A"/>
                  </a:gs>
                  <a:gs pos="69000">
                    <a:srgbClr val="835E17"/>
                  </a:gs>
                  <a:gs pos="82001">
                    <a:srgbClr val="A28949"/>
                  </a:gs>
                  <a:gs pos="100000">
                    <a:srgbClr val="FAE3B7"/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rot="10800000" vert="eaVert" wrap="none" anchor="ctr"/>
              <a:lstStyle/>
              <a:p>
                <a:pPr algn="ctr" fontAlgn="auto">
                  <a:spcAft>
                    <a:spcPts val="0"/>
                  </a:spcAft>
                  <a:defRPr/>
                </a:pPr>
                <a:r>
                  <a:rPr lang="en-US" sz="1200" b="1" dirty="0" smtClean="0">
                    <a:cs typeface="+mn-cs"/>
                  </a:rPr>
                  <a:t>Web Surfing</a:t>
                </a:r>
                <a:endParaRPr lang="en-US" sz="1200" b="1" dirty="0">
                  <a:cs typeface="+mn-cs"/>
                </a:endParaRPr>
              </a:p>
            </p:txBody>
          </p:sp>
          <p:sp>
            <p:nvSpPr>
              <p:cNvPr id="26" name="AutoShape 4"/>
              <p:cNvSpPr>
                <a:spLocks noChangeArrowheads="1"/>
              </p:cNvSpPr>
              <p:nvPr/>
            </p:nvSpPr>
            <p:spPr bwMode="auto">
              <a:xfrm rot="5400000">
                <a:off x="5737156" y="3895345"/>
                <a:ext cx="361950" cy="2063611"/>
              </a:xfrm>
              <a:prstGeom prst="can">
                <a:avLst>
                  <a:gd name="adj" fmla="val 30316"/>
                </a:avLst>
              </a:prstGeom>
              <a:gradFill>
                <a:gsLst>
                  <a:gs pos="0">
                    <a:srgbClr val="DCEBF5"/>
                  </a:gs>
                  <a:gs pos="8000">
                    <a:srgbClr val="83A7C3"/>
                  </a:gs>
                  <a:gs pos="13000">
                    <a:srgbClr val="768FB9"/>
                  </a:gs>
                  <a:gs pos="21001">
                    <a:srgbClr val="83A7C3"/>
                  </a:gs>
                  <a:gs pos="52000">
                    <a:srgbClr val="FFFFFF"/>
                  </a:gs>
                  <a:gs pos="56000">
                    <a:schemeClr val="tx1">
                      <a:lumMod val="75000"/>
                      <a:lumOff val="25000"/>
                    </a:schemeClr>
                  </a:gs>
                  <a:gs pos="58000">
                    <a:schemeClr val="tx1">
                      <a:lumMod val="65000"/>
                      <a:lumOff val="35000"/>
                    </a:schemeClr>
                  </a:gs>
                  <a:gs pos="71001">
                    <a:schemeClr val="accent3">
                      <a:lumMod val="50000"/>
                    </a:schemeClr>
                  </a:gs>
                  <a:gs pos="94000">
                    <a:srgbClr val="EBDAD4"/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rot="10800000" vert="eaVert" wrap="none" anchor="ctr" anchorCtr="1"/>
              <a:lstStyle/>
              <a:p>
                <a:pPr algn="ctr"/>
                <a:r>
                  <a:rPr lang="en-US" sz="1200" b="1" dirty="0"/>
                  <a:t>Social networking</a:t>
                </a:r>
              </a:p>
            </p:txBody>
          </p:sp>
          <p:sp>
            <p:nvSpPr>
              <p:cNvPr id="27" name="AutoShape 4"/>
              <p:cNvSpPr>
                <a:spLocks noChangeArrowheads="1"/>
              </p:cNvSpPr>
              <p:nvPr/>
            </p:nvSpPr>
            <p:spPr bwMode="auto">
              <a:xfrm rot="5400000">
                <a:off x="5677799" y="4582120"/>
                <a:ext cx="487922" cy="2070868"/>
              </a:xfrm>
              <a:prstGeom prst="can">
                <a:avLst>
                  <a:gd name="adj" fmla="val 30194"/>
                </a:avLst>
              </a:prstGeom>
              <a:gradFill>
                <a:gsLst>
                  <a:gs pos="0">
                    <a:srgbClr val="FF9900"/>
                  </a:gs>
                  <a:gs pos="13000">
                    <a:srgbClr val="FFCC00"/>
                  </a:gs>
                  <a:gs pos="28000">
                    <a:srgbClr val="FFCC66"/>
                  </a:gs>
                  <a:gs pos="42999">
                    <a:srgbClr val="FF9900"/>
                  </a:gs>
                  <a:gs pos="58000">
                    <a:srgbClr val="CC3300"/>
                  </a:gs>
                  <a:gs pos="72000">
                    <a:srgbClr val="FF9900"/>
                  </a:gs>
                  <a:gs pos="87000">
                    <a:srgbClr val="CC3300"/>
                  </a:gs>
                  <a:gs pos="100000">
                    <a:srgbClr val="CC3300"/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rot="10800000" vert="eaVert" wrap="none" lIns="0" tIns="0" rIns="0" bIns="0" anchor="ctr"/>
              <a:lstStyle/>
              <a:p>
                <a:pPr algn="ctr"/>
                <a:r>
                  <a:rPr lang="en-US" sz="1200" b="1" dirty="0"/>
                  <a:t>Video streaming</a:t>
                </a:r>
              </a:p>
            </p:txBody>
          </p:sp>
          <p:sp>
            <p:nvSpPr>
              <p:cNvPr id="28" name="AutoShape 4"/>
              <p:cNvSpPr>
                <a:spLocks noChangeArrowheads="1"/>
              </p:cNvSpPr>
              <p:nvPr/>
            </p:nvSpPr>
            <p:spPr bwMode="auto">
              <a:xfrm rot="5400000">
                <a:off x="5779391" y="4217562"/>
                <a:ext cx="262965" cy="2049097"/>
              </a:xfrm>
              <a:prstGeom prst="can">
                <a:avLst>
                  <a:gd name="adj" fmla="val 30239"/>
                </a:avLst>
              </a:prstGeom>
              <a:gradFill>
                <a:gsLst>
                  <a:gs pos="0">
                    <a:schemeClr val="accent2">
                      <a:lumMod val="50000"/>
                    </a:schemeClr>
                  </a:gs>
                  <a:gs pos="13000">
                    <a:schemeClr val="accent2">
                      <a:lumMod val="75000"/>
                    </a:schemeClr>
                  </a:gs>
                  <a:gs pos="28000">
                    <a:schemeClr val="accent2">
                      <a:lumMod val="60000"/>
                      <a:lumOff val="40000"/>
                    </a:schemeClr>
                  </a:gs>
                  <a:gs pos="42999">
                    <a:schemeClr val="accent2">
                      <a:lumMod val="50000"/>
                    </a:schemeClr>
                  </a:gs>
                  <a:gs pos="58000">
                    <a:schemeClr val="accent1">
                      <a:lumMod val="50000"/>
                    </a:schemeClr>
                  </a:gs>
                  <a:gs pos="72000">
                    <a:schemeClr val="accent1">
                      <a:lumMod val="75000"/>
                    </a:schemeClr>
                  </a:gs>
                  <a:gs pos="87000">
                    <a:schemeClr val="accent1">
                      <a:lumMod val="50000"/>
                    </a:schemeClr>
                  </a:gs>
                  <a:gs pos="100000">
                    <a:schemeClr val="tx2">
                      <a:lumMod val="50000"/>
                    </a:schemeClr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pPr algn="ctr"/>
                <a:r>
                  <a:rPr lang="en-US" sz="1200" b="1" dirty="0"/>
                  <a:t>Gaming</a:t>
                </a:r>
              </a:p>
            </p:txBody>
          </p:sp>
          <p:sp>
            <p:nvSpPr>
              <p:cNvPr id="29" name="AutoShape 4"/>
              <p:cNvSpPr>
                <a:spLocks noChangeArrowheads="1"/>
              </p:cNvSpPr>
              <p:nvPr/>
            </p:nvSpPr>
            <p:spPr bwMode="auto">
              <a:xfrm rot="5400000">
                <a:off x="5576414" y="5169024"/>
                <a:ext cx="712461" cy="2092639"/>
              </a:xfrm>
              <a:prstGeom prst="can">
                <a:avLst>
                  <a:gd name="adj" fmla="val 30211"/>
                </a:avLst>
              </a:prstGeom>
              <a:gradFill>
                <a:gsLst>
                  <a:gs pos="0">
                    <a:srgbClr val="CC00FF"/>
                  </a:gs>
                  <a:gs pos="13000">
                    <a:srgbClr val="CC66FF"/>
                  </a:gs>
                  <a:gs pos="28000">
                    <a:srgbClr val="CC99FF"/>
                  </a:gs>
                  <a:gs pos="42999">
                    <a:srgbClr val="CC00FF"/>
                  </a:gs>
                  <a:gs pos="58000">
                    <a:srgbClr val="9900CC"/>
                  </a:gs>
                  <a:gs pos="72000">
                    <a:srgbClr val="CC00FF"/>
                  </a:gs>
                  <a:gs pos="87000">
                    <a:srgbClr val="660066"/>
                  </a:gs>
                  <a:gs pos="100000">
                    <a:srgbClr val="9900CC"/>
                  </a:gs>
                </a:gsLst>
                <a:lin ang="0" scaled="0"/>
              </a:gra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/>
              <a:p>
                <a:pPr algn="ctr"/>
                <a:r>
                  <a:rPr lang="en-US" sz="1200" b="1"/>
                  <a:t>P2P</a:t>
                </a:r>
              </a:p>
            </p:txBody>
          </p:sp>
        </p:grpSp>
      </p:grpSp>
      <p:pic>
        <p:nvPicPr>
          <p:cNvPr id="30723" name="Picture 3" descr="C:\Users\groda\Pictures\Microsoft Clip Organizer\Freccia9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8788970">
            <a:off x="2494794" y="2795796"/>
            <a:ext cx="963085" cy="963085"/>
          </a:xfrm>
          <a:prstGeom prst="rect">
            <a:avLst/>
          </a:prstGeom>
          <a:noFill/>
        </p:spPr>
      </p:pic>
      <p:grpSp>
        <p:nvGrpSpPr>
          <p:cNvPr id="85" name="Group 84"/>
          <p:cNvGrpSpPr>
            <a:grpSpLocks noChangeAspect="1"/>
          </p:cNvGrpSpPr>
          <p:nvPr/>
        </p:nvGrpSpPr>
        <p:grpSpPr>
          <a:xfrm>
            <a:off x="3911072" y="2482335"/>
            <a:ext cx="2051095" cy="1234137"/>
            <a:chOff x="746478" y="3863267"/>
            <a:chExt cx="1367396" cy="822758"/>
          </a:xfrm>
        </p:grpSpPr>
        <p:grpSp>
          <p:nvGrpSpPr>
            <p:cNvPr id="35" name="Group 34"/>
            <p:cNvGrpSpPr/>
            <p:nvPr/>
          </p:nvGrpSpPr>
          <p:grpSpPr>
            <a:xfrm>
              <a:off x="758898" y="3863267"/>
              <a:ext cx="1354976" cy="813120"/>
              <a:chOff x="1000058" y="3200076"/>
              <a:chExt cx="1354976" cy="813120"/>
            </a:xfrm>
          </p:grpSpPr>
          <p:grpSp>
            <p:nvGrpSpPr>
              <p:cNvPr id="36" name="Group 119"/>
              <p:cNvGrpSpPr/>
              <p:nvPr/>
            </p:nvGrpSpPr>
            <p:grpSpPr>
              <a:xfrm flipH="1">
                <a:off x="1000058" y="3200076"/>
                <a:ext cx="1354976" cy="813120"/>
                <a:chOff x="2275784" y="5197704"/>
                <a:chExt cx="1354976" cy="813120"/>
              </a:xfrm>
            </p:grpSpPr>
            <p:sp>
              <p:nvSpPr>
                <p:cNvPr id="46" name="Rectangle 45"/>
                <p:cNvSpPr/>
                <p:nvPr/>
              </p:nvSpPr>
              <p:spPr bwMode="auto">
                <a:xfrm>
                  <a:off x="2275784" y="5197704"/>
                  <a:ext cx="1354976" cy="813120"/>
                </a:xfrm>
                <a:prstGeom prst="rect">
                  <a:avLst/>
                </a:prstGeom>
                <a:gradFill>
                  <a:gsLst>
                    <a:gs pos="0">
                      <a:schemeClr val="accent1">
                        <a:lumMod val="20000"/>
                        <a:lumOff val="80000"/>
                      </a:schemeClr>
                    </a:gs>
                    <a:gs pos="35000">
                      <a:schemeClr val="accent1">
                        <a:lumMod val="40000"/>
                        <a:lumOff val="60000"/>
                      </a:schemeClr>
                    </a:gs>
                    <a:gs pos="100000">
                      <a:schemeClr val="accent1">
                        <a:lumMod val="20000"/>
                        <a:lumOff val="80000"/>
                      </a:schemeClr>
                    </a:gs>
                  </a:gsLst>
                </a:gradFill>
                <a:ln w="50800">
                  <a:solidFill>
                    <a:srgbClr val="0070C0"/>
                  </a:solidFill>
                  <a:headEnd type="none" w="med" len="med"/>
                  <a:tailEnd type="none" w="med" len="med"/>
                </a:ln>
                <a:scene3d>
                  <a:camera prst="orthographicFront"/>
                  <a:lightRig rig="threePt" dir="t"/>
                </a:scene3d>
                <a:sp3d>
                  <a:bevelT prst="slope"/>
                </a:sp3d>
              </p:spPr>
              <p:style>
                <a:lnRef idx="1">
                  <a:schemeClr val="accent3"/>
                </a:lnRef>
                <a:fillRef idx="2">
                  <a:schemeClr val="accent3"/>
                </a:fillRef>
                <a:effectRef idx="1">
                  <a:schemeClr val="accent3"/>
                </a:effectRef>
                <a:fontRef idx="minor">
                  <a:schemeClr val="dk1"/>
                </a:fontRef>
              </p:style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  <a:defRPr/>
                  </a:pPr>
                  <a:endParaRPr lang="it-IT" sz="1200" b="1" i="1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47" name="Group 97"/>
                <p:cNvGrpSpPr/>
                <p:nvPr/>
              </p:nvGrpSpPr>
              <p:grpSpPr>
                <a:xfrm>
                  <a:off x="2326250" y="5249522"/>
                  <a:ext cx="1271322" cy="726212"/>
                  <a:chOff x="2979392" y="1896734"/>
                  <a:chExt cx="1271322" cy="762112"/>
                </a:xfrm>
              </p:grpSpPr>
              <p:sp>
                <p:nvSpPr>
                  <p:cNvPr id="52" name="Rectangle 51"/>
                  <p:cNvSpPr/>
                  <p:nvPr/>
                </p:nvSpPr>
                <p:spPr>
                  <a:xfrm>
                    <a:off x="2979392" y="1899657"/>
                    <a:ext cx="180000" cy="759189"/>
                  </a:xfrm>
                  <a:prstGeom prst="rect">
                    <a:avLst/>
                  </a:prstGeom>
                  <a:noFill/>
                  <a:ln w="12700"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53" name="Rectangle 52"/>
                  <p:cNvSpPr/>
                  <p:nvPr/>
                </p:nvSpPr>
                <p:spPr>
                  <a:xfrm>
                    <a:off x="3162159" y="1897714"/>
                    <a:ext cx="180000" cy="759189"/>
                  </a:xfrm>
                  <a:prstGeom prst="rect">
                    <a:avLst/>
                  </a:prstGeom>
                  <a:noFill/>
                  <a:ln w="12700"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54" name="Rectangle 53"/>
                  <p:cNvSpPr/>
                  <p:nvPr/>
                </p:nvSpPr>
                <p:spPr>
                  <a:xfrm>
                    <a:off x="3344622" y="1897297"/>
                    <a:ext cx="180000" cy="759189"/>
                  </a:xfrm>
                  <a:prstGeom prst="rect">
                    <a:avLst/>
                  </a:prstGeom>
                  <a:noFill/>
                  <a:ln w="12700"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55" name="Rectangle 54"/>
                  <p:cNvSpPr/>
                  <p:nvPr/>
                </p:nvSpPr>
                <p:spPr>
                  <a:xfrm>
                    <a:off x="3527084" y="1896879"/>
                    <a:ext cx="180000" cy="759189"/>
                  </a:xfrm>
                  <a:prstGeom prst="rect">
                    <a:avLst/>
                  </a:prstGeom>
                  <a:noFill/>
                  <a:ln w="12700"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56" name="Rectangle 55"/>
                  <p:cNvSpPr/>
                  <p:nvPr/>
                </p:nvSpPr>
                <p:spPr>
                  <a:xfrm>
                    <a:off x="3707989" y="1896734"/>
                    <a:ext cx="180000" cy="759189"/>
                  </a:xfrm>
                  <a:prstGeom prst="rect">
                    <a:avLst/>
                  </a:prstGeom>
                  <a:noFill/>
                  <a:ln w="12700"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57" name="Rectangle 56"/>
                  <p:cNvSpPr/>
                  <p:nvPr/>
                </p:nvSpPr>
                <p:spPr>
                  <a:xfrm>
                    <a:off x="3888251" y="1897296"/>
                    <a:ext cx="180000" cy="759189"/>
                  </a:xfrm>
                  <a:prstGeom prst="rect">
                    <a:avLst/>
                  </a:prstGeom>
                  <a:noFill/>
                  <a:ln w="12700"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  <p:sp>
                <p:nvSpPr>
                  <p:cNvPr id="58" name="Rectangle 57"/>
                  <p:cNvSpPr/>
                  <p:nvPr/>
                </p:nvSpPr>
                <p:spPr>
                  <a:xfrm>
                    <a:off x="4070714" y="1896879"/>
                    <a:ext cx="180000" cy="759189"/>
                  </a:xfrm>
                  <a:prstGeom prst="rect">
                    <a:avLst/>
                  </a:prstGeom>
                  <a:noFill/>
                  <a:ln w="12700"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/>
                  </a:p>
                </p:txBody>
              </p:sp>
            </p:grpSp>
            <p:sp>
              <p:nvSpPr>
                <p:cNvPr id="48" name="Rectangle 47"/>
                <p:cNvSpPr/>
                <p:nvPr/>
              </p:nvSpPr>
              <p:spPr>
                <a:xfrm>
                  <a:off x="2325547" y="5249240"/>
                  <a:ext cx="1267634" cy="180000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49" name="Rectangle 48"/>
                <p:cNvSpPr/>
                <p:nvPr/>
              </p:nvSpPr>
              <p:spPr>
                <a:xfrm>
                  <a:off x="2325129" y="5434208"/>
                  <a:ext cx="1267634" cy="180000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0" name="Rectangle 49"/>
                <p:cNvSpPr/>
                <p:nvPr/>
              </p:nvSpPr>
              <p:spPr>
                <a:xfrm>
                  <a:off x="2322624" y="5614583"/>
                  <a:ext cx="1267634" cy="180000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51" name="Rectangle 50"/>
                <p:cNvSpPr/>
                <p:nvPr/>
              </p:nvSpPr>
              <p:spPr>
                <a:xfrm>
                  <a:off x="2325129" y="5797463"/>
                  <a:ext cx="1267634" cy="180000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</p:grpSp>
          <p:sp>
            <p:nvSpPr>
              <p:cNvPr id="37" name="Rectangle 228"/>
              <p:cNvSpPr>
                <a:spLocks noChangeArrowheads="1"/>
              </p:cNvSpPr>
              <p:nvPr/>
            </p:nvSpPr>
            <p:spPr bwMode="auto">
              <a:xfrm flipH="1">
                <a:off x="2020827" y="3444794"/>
                <a:ext cx="106443" cy="411241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38" name="Rectangle 229"/>
              <p:cNvSpPr>
                <a:spLocks noChangeArrowheads="1"/>
              </p:cNvSpPr>
              <p:nvPr/>
            </p:nvSpPr>
            <p:spPr bwMode="auto">
              <a:xfrm flipH="1">
                <a:off x="1883509" y="3418193"/>
                <a:ext cx="106443" cy="437841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39" name="Rectangle 230"/>
              <p:cNvSpPr>
                <a:spLocks noChangeArrowheads="1"/>
              </p:cNvSpPr>
              <p:nvPr/>
            </p:nvSpPr>
            <p:spPr bwMode="auto">
              <a:xfrm flipH="1">
                <a:off x="1746190" y="3411543"/>
                <a:ext cx="106443" cy="444492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40" name="Rectangle 231"/>
              <p:cNvSpPr>
                <a:spLocks noChangeArrowheads="1"/>
              </p:cNvSpPr>
              <p:nvPr/>
            </p:nvSpPr>
            <p:spPr bwMode="auto">
              <a:xfrm flipH="1">
                <a:off x="1611889" y="3385838"/>
                <a:ext cx="106443" cy="470198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41" name="Rectangle 232"/>
              <p:cNvSpPr>
                <a:spLocks noChangeArrowheads="1"/>
              </p:cNvSpPr>
              <p:nvPr/>
            </p:nvSpPr>
            <p:spPr bwMode="auto">
              <a:xfrm flipH="1">
                <a:off x="1474569" y="3364992"/>
                <a:ext cx="106443" cy="491044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42" name="Rectangle 233"/>
              <p:cNvSpPr>
                <a:spLocks noChangeArrowheads="1"/>
              </p:cNvSpPr>
              <p:nvPr/>
            </p:nvSpPr>
            <p:spPr bwMode="auto">
              <a:xfrm flipH="1">
                <a:off x="1338759" y="3358342"/>
                <a:ext cx="106443" cy="497693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43" name="Rectangle 234"/>
              <p:cNvSpPr>
                <a:spLocks noChangeArrowheads="1"/>
              </p:cNvSpPr>
              <p:nvPr/>
            </p:nvSpPr>
            <p:spPr bwMode="auto">
              <a:xfrm flipH="1">
                <a:off x="1202954" y="3342518"/>
                <a:ext cx="106443" cy="513518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44" name="Rectangle 235"/>
              <p:cNvSpPr>
                <a:spLocks noChangeArrowheads="1"/>
              </p:cNvSpPr>
              <p:nvPr/>
            </p:nvSpPr>
            <p:spPr bwMode="auto">
              <a:xfrm flipH="1">
                <a:off x="1067143" y="3305140"/>
                <a:ext cx="106443" cy="550895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  <p:sp>
            <p:nvSpPr>
              <p:cNvPr id="45" name="Rectangle 227"/>
              <p:cNvSpPr>
                <a:spLocks noChangeArrowheads="1"/>
              </p:cNvSpPr>
              <p:nvPr/>
            </p:nvSpPr>
            <p:spPr bwMode="auto">
              <a:xfrm flipH="1">
                <a:off x="2158156" y="3461420"/>
                <a:ext cx="106443" cy="394616"/>
              </a:xfrm>
              <a:prstGeom prst="rect">
                <a:avLst/>
              </a:prstGeom>
              <a:solidFill>
                <a:srgbClr val="FF0000"/>
              </a:solidFill>
              <a:ln w="3175" algn="ctr">
                <a:solidFill>
                  <a:srgbClr val="C00000"/>
                </a:solidFill>
                <a:round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</a:pPr>
                <a:endParaRPr lang="it-IT" sz="1200" b="1" i="1"/>
              </a:p>
            </p:txBody>
          </p:sp>
        </p:grpSp>
        <p:sp>
          <p:nvSpPr>
            <p:cNvPr id="83" name="Rectangle 82"/>
            <p:cNvSpPr/>
            <p:nvPr/>
          </p:nvSpPr>
          <p:spPr>
            <a:xfrm>
              <a:off x="746478" y="4480840"/>
              <a:ext cx="735330" cy="2051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>
              <a:spAutoFit/>
            </a:bodyPr>
            <a:lstStyle/>
            <a:p>
              <a:r>
                <a:rPr lang="it-IT" sz="1400" b="1" dirty="0" smtClean="0">
                  <a:solidFill>
                    <a:srgbClr val="FF0000"/>
                  </a:solidFill>
                  <a:latin typeface="Interstate-Light" pitchFamily="2" charset="0"/>
                </a:rPr>
                <a:t>COSTO/BIT</a:t>
              </a:r>
              <a:endParaRPr lang="it-IT" sz="1400" b="1" dirty="0">
                <a:solidFill>
                  <a:srgbClr val="FF0000"/>
                </a:solidFill>
                <a:latin typeface="Interstate-Light" pitchFamily="2" charset="0"/>
              </a:endParaRPr>
            </a:p>
          </p:txBody>
        </p:sp>
      </p:grpSp>
      <p:grpSp>
        <p:nvGrpSpPr>
          <p:cNvPr id="86" name="Group 85"/>
          <p:cNvGrpSpPr>
            <a:grpSpLocks noChangeAspect="1"/>
          </p:cNvGrpSpPr>
          <p:nvPr/>
        </p:nvGrpSpPr>
        <p:grpSpPr>
          <a:xfrm>
            <a:off x="3923350" y="4066261"/>
            <a:ext cx="2032464" cy="1219680"/>
            <a:chOff x="2233085" y="3835351"/>
            <a:chExt cx="1354976" cy="813120"/>
          </a:xfrm>
        </p:grpSpPr>
        <p:grpSp>
          <p:nvGrpSpPr>
            <p:cNvPr id="59" name="Group 58"/>
            <p:cNvGrpSpPr/>
            <p:nvPr/>
          </p:nvGrpSpPr>
          <p:grpSpPr>
            <a:xfrm>
              <a:off x="2233085" y="3835351"/>
              <a:ext cx="1354976" cy="813120"/>
              <a:chOff x="1228250" y="1875923"/>
              <a:chExt cx="1354976" cy="813120"/>
            </a:xfrm>
          </p:grpSpPr>
          <p:sp>
            <p:nvSpPr>
              <p:cNvPr id="60" name="Rectangle 59"/>
              <p:cNvSpPr/>
              <p:nvPr/>
            </p:nvSpPr>
            <p:spPr bwMode="auto">
              <a:xfrm>
                <a:off x="1228250" y="1875923"/>
                <a:ext cx="1354976" cy="813120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20000"/>
                      <a:lumOff val="80000"/>
                    </a:schemeClr>
                  </a:gs>
                  <a:gs pos="3500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</a:gradFill>
              <a:ln w="50800">
                <a:solidFill>
                  <a:srgbClr val="0070C0"/>
                </a:solidFill>
                <a:headEnd type="none" w="med" len="med"/>
                <a:tailEnd type="none" w="med" len="med"/>
              </a:ln>
              <a:scene3d>
                <a:camera prst="orthographicFront"/>
                <a:lightRig rig="threePt" dir="t"/>
              </a:scene3d>
              <a:sp3d>
                <a:bevelT prst="slope"/>
              </a:sp3d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/>
              <a:lstStyle/>
              <a:p>
                <a:pPr algn="ctr" eaLnBrk="0" hangingPunct="0">
                  <a:lnSpc>
                    <a:spcPct val="130000"/>
                  </a:lnSpc>
                  <a:spcBef>
                    <a:spcPct val="20000"/>
                  </a:spcBef>
                  <a:buClr>
                    <a:srgbClr val="F4BF17"/>
                  </a:buClr>
                  <a:buFont typeface="Wingdings" pitchFamily="2" charset="2"/>
                  <a:buNone/>
                  <a:defRPr/>
                </a:pPr>
                <a:endParaRPr lang="it-IT" sz="1200" b="1" i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1" name="Group 97"/>
              <p:cNvGrpSpPr/>
              <p:nvPr/>
            </p:nvGrpSpPr>
            <p:grpSpPr>
              <a:xfrm>
                <a:off x="1278716" y="1927747"/>
                <a:ext cx="1271322" cy="726214"/>
                <a:chOff x="2979392" y="1896734"/>
                <a:chExt cx="1271322" cy="762112"/>
              </a:xfrm>
            </p:grpSpPr>
            <p:sp>
              <p:nvSpPr>
                <p:cNvPr id="76" name="Rectangle 75"/>
                <p:cNvSpPr/>
                <p:nvPr/>
              </p:nvSpPr>
              <p:spPr>
                <a:xfrm>
                  <a:off x="2979392" y="1899657"/>
                  <a:ext cx="180000" cy="759189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77" name="Rectangle 76"/>
                <p:cNvSpPr/>
                <p:nvPr/>
              </p:nvSpPr>
              <p:spPr>
                <a:xfrm>
                  <a:off x="3162159" y="1897714"/>
                  <a:ext cx="180000" cy="759189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78" name="Rectangle 77"/>
                <p:cNvSpPr/>
                <p:nvPr/>
              </p:nvSpPr>
              <p:spPr>
                <a:xfrm>
                  <a:off x="3344622" y="1897297"/>
                  <a:ext cx="180000" cy="759189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79" name="Rectangle 78"/>
                <p:cNvSpPr/>
                <p:nvPr/>
              </p:nvSpPr>
              <p:spPr>
                <a:xfrm>
                  <a:off x="3527084" y="1896879"/>
                  <a:ext cx="180000" cy="759189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80" name="Rectangle 79"/>
                <p:cNvSpPr/>
                <p:nvPr/>
              </p:nvSpPr>
              <p:spPr>
                <a:xfrm>
                  <a:off x="3707989" y="1896734"/>
                  <a:ext cx="180000" cy="759189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81" name="Rectangle 80"/>
                <p:cNvSpPr/>
                <p:nvPr/>
              </p:nvSpPr>
              <p:spPr>
                <a:xfrm>
                  <a:off x="3888251" y="1897296"/>
                  <a:ext cx="180000" cy="759189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  <p:sp>
              <p:nvSpPr>
                <p:cNvPr id="82" name="Rectangle 81"/>
                <p:cNvSpPr/>
                <p:nvPr/>
              </p:nvSpPr>
              <p:spPr>
                <a:xfrm>
                  <a:off x="4070714" y="1896879"/>
                  <a:ext cx="180000" cy="759189"/>
                </a:xfrm>
                <a:prstGeom prst="rect">
                  <a:avLst/>
                </a:prstGeom>
                <a:noFill/>
                <a:ln w="12700"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/>
                </a:p>
              </p:txBody>
            </p:sp>
          </p:grpSp>
          <p:sp>
            <p:nvSpPr>
              <p:cNvPr id="62" name="Rectangle 61"/>
              <p:cNvSpPr/>
              <p:nvPr/>
            </p:nvSpPr>
            <p:spPr>
              <a:xfrm>
                <a:off x="1278013" y="1927459"/>
                <a:ext cx="1267634" cy="180000"/>
              </a:xfrm>
              <a:prstGeom prst="rect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63" name="Rectangle 62"/>
              <p:cNvSpPr/>
              <p:nvPr/>
            </p:nvSpPr>
            <p:spPr>
              <a:xfrm>
                <a:off x="1277595" y="2112427"/>
                <a:ext cx="1267634" cy="180000"/>
              </a:xfrm>
              <a:prstGeom prst="rect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64" name="Rectangle 63"/>
              <p:cNvSpPr/>
              <p:nvPr/>
            </p:nvSpPr>
            <p:spPr>
              <a:xfrm>
                <a:off x="1275090" y="2292802"/>
                <a:ext cx="1267634" cy="180000"/>
              </a:xfrm>
              <a:prstGeom prst="rect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1277595" y="2475682"/>
                <a:ext cx="1267634" cy="180000"/>
              </a:xfrm>
              <a:prstGeom prst="rect">
                <a:avLst/>
              </a:prstGeom>
              <a:noFill/>
              <a:ln w="12700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/>
              </a:p>
            </p:txBody>
          </p:sp>
          <p:grpSp>
            <p:nvGrpSpPr>
              <p:cNvPr id="66" name="Group 109"/>
              <p:cNvGrpSpPr/>
              <p:nvPr/>
            </p:nvGrpSpPr>
            <p:grpSpPr>
              <a:xfrm>
                <a:off x="1321567" y="1998852"/>
                <a:ext cx="1197444" cy="512292"/>
                <a:chOff x="3027253" y="2015428"/>
                <a:chExt cx="1197444" cy="512292"/>
              </a:xfrm>
            </p:grpSpPr>
            <p:sp>
              <p:nvSpPr>
                <p:cNvPr id="67" name="Rectangle 218"/>
                <p:cNvSpPr>
                  <a:spLocks noChangeArrowheads="1"/>
                </p:cNvSpPr>
                <p:nvPr/>
              </p:nvSpPr>
              <p:spPr bwMode="auto">
                <a:xfrm>
                  <a:off x="3027253" y="2015428"/>
                  <a:ext cx="106443" cy="512292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68" name="Rectangle 219"/>
                <p:cNvSpPr>
                  <a:spLocks noChangeArrowheads="1"/>
                </p:cNvSpPr>
                <p:nvPr/>
              </p:nvSpPr>
              <p:spPr bwMode="auto">
                <a:xfrm>
                  <a:off x="3164572" y="2078772"/>
                  <a:ext cx="106443" cy="448948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69" name="Rectangle 220"/>
                <p:cNvSpPr>
                  <a:spLocks noChangeArrowheads="1"/>
                </p:cNvSpPr>
                <p:nvPr/>
              </p:nvSpPr>
              <p:spPr bwMode="auto">
                <a:xfrm>
                  <a:off x="3301889" y="2157279"/>
                  <a:ext cx="106443" cy="370440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70" name="Rectangle 221"/>
                <p:cNvSpPr>
                  <a:spLocks noChangeArrowheads="1"/>
                </p:cNvSpPr>
                <p:nvPr/>
              </p:nvSpPr>
              <p:spPr bwMode="auto">
                <a:xfrm>
                  <a:off x="3439208" y="2214623"/>
                  <a:ext cx="106443" cy="313097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71" name="Rectangle 222"/>
                <p:cNvSpPr>
                  <a:spLocks noChangeArrowheads="1"/>
                </p:cNvSpPr>
                <p:nvPr/>
              </p:nvSpPr>
              <p:spPr bwMode="auto">
                <a:xfrm>
                  <a:off x="3573510" y="2248224"/>
                  <a:ext cx="106443" cy="279496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72" name="Rectangle 223"/>
                <p:cNvSpPr>
                  <a:spLocks noChangeArrowheads="1"/>
                </p:cNvSpPr>
                <p:nvPr/>
              </p:nvSpPr>
              <p:spPr bwMode="auto">
                <a:xfrm>
                  <a:off x="3710828" y="2280196"/>
                  <a:ext cx="106443" cy="247523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73" name="Rectangle 224"/>
                <p:cNvSpPr>
                  <a:spLocks noChangeArrowheads="1"/>
                </p:cNvSpPr>
                <p:nvPr/>
              </p:nvSpPr>
              <p:spPr bwMode="auto">
                <a:xfrm>
                  <a:off x="3846638" y="2337745"/>
                  <a:ext cx="106443" cy="189974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74" name="Rectangle 225"/>
                <p:cNvSpPr>
                  <a:spLocks noChangeArrowheads="1"/>
                </p:cNvSpPr>
                <p:nvPr/>
              </p:nvSpPr>
              <p:spPr bwMode="auto">
                <a:xfrm>
                  <a:off x="3982445" y="2380619"/>
                  <a:ext cx="106443" cy="147100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  <p:sp>
              <p:nvSpPr>
                <p:cNvPr id="75" name="Rectangle 226"/>
                <p:cNvSpPr>
                  <a:spLocks noChangeArrowheads="1"/>
                </p:cNvSpPr>
                <p:nvPr/>
              </p:nvSpPr>
              <p:spPr bwMode="auto">
                <a:xfrm>
                  <a:off x="4118254" y="2388900"/>
                  <a:ext cx="106443" cy="138819"/>
                </a:xfrm>
                <a:prstGeom prst="rect">
                  <a:avLst/>
                </a:prstGeom>
                <a:solidFill>
                  <a:srgbClr val="FFC000"/>
                </a:solidFill>
                <a:ln w="3175" algn="ctr">
                  <a:noFill/>
                  <a:round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/>
                <a:lstStyle/>
                <a:p>
                  <a:pPr algn="ctr" eaLnBrk="0" hangingPunct="0">
                    <a:lnSpc>
                      <a:spcPct val="130000"/>
                    </a:lnSpc>
                    <a:spcBef>
                      <a:spcPct val="20000"/>
                    </a:spcBef>
                    <a:buClr>
                      <a:srgbClr val="F4BF17"/>
                    </a:buClr>
                    <a:buFont typeface="Wingdings" pitchFamily="2" charset="2"/>
                    <a:buNone/>
                  </a:pPr>
                  <a:endParaRPr lang="it-IT" sz="1200" b="1" i="1"/>
                </a:p>
              </p:txBody>
            </p:sp>
          </p:grpSp>
        </p:grpSp>
        <p:sp>
          <p:nvSpPr>
            <p:cNvPr id="84" name="Rectangle 83"/>
            <p:cNvSpPr/>
            <p:nvPr/>
          </p:nvSpPr>
          <p:spPr>
            <a:xfrm>
              <a:off x="2241834" y="4442740"/>
              <a:ext cx="735330" cy="2051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>
              <a:spAutoFit/>
            </a:bodyPr>
            <a:lstStyle/>
            <a:p>
              <a:r>
                <a:rPr lang="it-IT" sz="1400" b="1" dirty="0" smtClean="0">
                  <a:solidFill>
                    <a:srgbClr val="FF0000"/>
                  </a:solidFill>
                  <a:latin typeface="Interstate-Light" pitchFamily="2" charset="0"/>
                </a:rPr>
                <a:t>ARPU/BIT</a:t>
              </a:r>
              <a:endParaRPr lang="it-IT" sz="1400" b="1" dirty="0">
                <a:solidFill>
                  <a:srgbClr val="FF0000"/>
                </a:solidFill>
                <a:latin typeface="Interstate-Light" pitchFamily="2" charset="0"/>
              </a:endParaRPr>
            </a:p>
          </p:txBody>
        </p:sp>
      </p:grpSp>
      <p:sp>
        <p:nvSpPr>
          <p:cNvPr id="101" name="Rectangle 100"/>
          <p:cNvSpPr/>
          <p:nvPr/>
        </p:nvSpPr>
        <p:spPr>
          <a:xfrm>
            <a:off x="6696636" y="2129115"/>
            <a:ext cx="1631576" cy="654422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</a:schemeClr>
              </a:gs>
              <a:gs pos="50000">
                <a:schemeClr val="accent1">
                  <a:lumMod val="75000"/>
                </a:schemeClr>
              </a:gs>
              <a:gs pos="100000">
                <a:schemeClr val="accent1">
                  <a:lumMod val="50000"/>
                </a:schemeClr>
              </a:gs>
            </a:gsLst>
            <a:lin ang="5400000" scaled="0"/>
          </a:gradFill>
          <a:effectLst>
            <a:outerShdw blurRad="50800" dist="38100" dir="8100000" sx="104000" sy="104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19152000" lon="20106000" rev="1578000"/>
            </a:camera>
            <a:lightRig rig="threePt" dir="t"/>
          </a:scene3d>
          <a:sp3d extrusionH="152400">
            <a:bevelT w="165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Garanzia SLA</a:t>
            </a:r>
            <a:endParaRPr lang="it-IT" dirty="0"/>
          </a:p>
        </p:txBody>
      </p:sp>
      <p:graphicFrame>
        <p:nvGraphicFramePr>
          <p:cNvPr id="99" name="Diagram 98"/>
          <p:cNvGraphicFramePr/>
          <p:nvPr/>
        </p:nvGraphicFramePr>
        <p:xfrm>
          <a:off x="6857999" y="2117071"/>
          <a:ext cx="2330824" cy="30928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2" name="Rectangle 101"/>
          <p:cNvSpPr/>
          <p:nvPr/>
        </p:nvSpPr>
        <p:spPr>
          <a:xfrm>
            <a:off x="7763436" y="4710950"/>
            <a:ext cx="1631576" cy="654422"/>
          </a:xfrm>
          <a:prstGeom prst="rect">
            <a:avLst/>
          </a:prstGeom>
          <a:gradFill>
            <a:gsLst>
              <a:gs pos="0">
                <a:srgbClr val="663300"/>
              </a:gs>
              <a:gs pos="50000">
                <a:srgbClr val="CC9900"/>
              </a:gs>
              <a:gs pos="100000">
                <a:srgbClr val="996600"/>
              </a:gs>
            </a:gsLst>
            <a:lin ang="5400000" scaled="0"/>
          </a:gradFill>
          <a:effectLst>
            <a:outerShdw blurRad="50800" dist="38100" dir="8100000" sx="104000" sy="104000" algn="tr" rotWithShape="0">
              <a:prstClr val="black">
                <a:alpha val="40000"/>
              </a:prstClr>
            </a:outerShdw>
          </a:effectLst>
          <a:scene3d>
            <a:camera prst="orthographicFront">
              <a:rot lat="19152000" lon="20106000" rev="1578000"/>
            </a:camera>
            <a:lightRig rig="threePt" dir="t"/>
          </a:scene3d>
          <a:sp3d extrusionH="152400">
            <a:bevelT w="165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Contenimento CAPEX</a:t>
            </a:r>
            <a:endParaRPr lang="it-IT" dirty="0"/>
          </a:p>
        </p:txBody>
      </p:sp>
      <p:sp>
        <p:nvSpPr>
          <p:cNvPr id="103" name="Rectangle 102"/>
          <p:cNvSpPr/>
          <p:nvPr/>
        </p:nvSpPr>
        <p:spPr>
          <a:xfrm>
            <a:off x="3543300" y="1199588"/>
            <a:ext cx="2867025" cy="304800"/>
          </a:xfrm>
          <a:prstGeom prst="rect">
            <a:avLst/>
          </a:prstGeom>
          <a:solidFill>
            <a:schemeClr val="bg1">
              <a:lumMod val="95000"/>
            </a:schemeClr>
          </a:solidFill>
          <a:ln w="1016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101600" h="152400" prst="hardEdge"/>
            <a:extrusionClr>
              <a:srgbClr val="FFFFFF"/>
            </a:extrusion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1600" b="1" i="1" dirty="0" smtClean="0">
                <a:solidFill>
                  <a:srgbClr val="FF0000"/>
                </a:solidFill>
                <a:latin typeface="Interstate-Light" pitchFamily="2" charset="0"/>
              </a:rPr>
              <a:t>The Bandwidth Dilemma</a:t>
            </a:r>
            <a:endParaRPr lang="it-IT" sz="1600" b="1" i="1" dirty="0">
              <a:solidFill>
                <a:srgbClr val="FF0000"/>
              </a:solidFill>
              <a:latin typeface="Interstate-Light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decel="500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07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17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 animBg="1"/>
      <p:bldP spid="97" grpId="0" animBg="1"/>
      <p:bldP spid="23" grpId="0" animBg="1"/>
      <p:bldP spid="101" grpId="0" animBg="1"/>
      <p:bldGraphic spid="99" grpId="0">
        <p:bldAsOne/>
      </p:bldGraphic>
      <p:bldP spid="102" grpId="0" animBg="1"/>
      <p:bldP spid="10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Picture Placeholder 78" descr="Lente3.jpg"/>
          <p:cNvPicPr>
            <a:picLocks noGrp="1" noChangeAspect="1"/>
          </p:cNvPicPr>
          <p:nvPr>
            <p:ph type="pic" idx="1"/>
          </p:nvPr>
        </p:nvPicPr>
        <p:blipFill>
          <a:blip r:embed="rId3" cstate="print">
            <a:lum bright="18000"/>
          </a:blip>
          <a:srcRect t="13338" b="13338"/>
          <a:stretch>
            <a:fillRect/>
          </a:stretch>
        </p:blipFill>
        <p:spPr/>
      </p:pic>
      <p:sp>
        <p:nvSpPr>
          <p:cNvPr id="43" name="Rounded Rectangle 42"/>
          <p:cNvSpPr/>
          <p:nvPr/>
        </p:nvSpPr>
        <p:spPr>
          <a:xfrm>
            <a:off x="418289" y="1235413"/>
            <a:ext cx="5457217" cy="4007796"/>
          </a:xfrm>
          <a:prstGeom prst="roundRect">
            <a:avLst>
              <a:gd name="adj" fmla="val 3317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</a:pPr>
            <a:endParaRPr lang="it-IT" sz="1600" b="1" spc="150" dirty="0" smtClean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Interstate-Light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pplication </a:t>
            </a:r>
            <a:r>
              <a:rPr lang="it-IT" dirty="0" smtClean="0"/>
              <a:t>Aware Network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854698" y="1172278"/>
            <a:ext cx="4545106" cy="4197390"/>
          </a:xfrm>
          <a:prstGeom prst="rect">
            <a:avLst/>
          </a:prstGeom>
          <a:gradFill>
            <a:gsLst>
              <a:gs pos="32000">
                <a:schemeClr val="accent6">
                  <a:lumMod val="90000"/>
                </a:schemeClr>
              </a:gs>
              <a:gs pos="47000">
                <a:schemeClr val="accent6"/>
              </a:gs>
              <a:gs pos="100000">
                <a:schemeClr val="accent6"/>
              </a:gs>
            </a:gsLst>
            <a:lin ang="5400000" scaled="0"/>
          </a:gradFill>
          <a:ln w="57150">
            <a:noFill/>
          </a:ln>
          <a:effectLst>
            <a:outerShdw blurRad="127000" dist="38100" dir="5400000" sx="104000" sy="104000" algn="t" rotWithShape="0">
              <a:prstClr val="black">
                <a:alpha val="40000"/>
              </a:prstClr>
            </a:outerShdw>
          </a:effectLst>
          <a:scene3d>
            <a:camera prst="perspectiveRelaxed"/>
            <a:lightRig rig="threePt" dir="t"/>
          </a:scene3d>
          <a:sp3d extrusionH="50800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flatTx/>
          </a:bodyPr>
          <a:lstStyle/>
          <a:p>
            <a:pPr algn="ctr">
              <a:defRPr/>
            </a:pPr>
            <a:endParaRPr lang="en-US"/>
          </a:p>
        </p:txBody>
      </p:sp>
      <p:pic>
        <p:nvPicPr>
          <p:cNvPr id="29703" name="Picture 7" descr="C:\Users\groda\Pictures\Microsoft Clip Organizer\Cloud2.png"/>
          <p:cNvPicPr preferRelativeResize="0">
            <a:picLocks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1096744" y="2113574"/>
            <a:ext cx="4168588" cy="2554940"/>
          </a:xfrm>
          <a:prstGeom prst="rect">
            <a:avLst/>
          </a:prstGeom>
          <a:noFill/>
          <a:effectLst>
            <a:outerShdw blurRad="139700" dist="88900" dir="5100000" sx="105000" sy="105000" algn="ctr" rotWithShape="0">
              <a:srgbClr val="000000">
                <a:alpha val="29000"/>
              </a:srgbClr>
            </a:outerShdw>
          </a:effectLst>
        </p:spPr>
      </p:pic>
      <p:sp>
        <p:nvSpPr>
          <p:cNvPr id="7188" name="Text Box 28"/>
          <p:cNvSpPr txBox="1">
            <a:spLocks noChangeArrowheads="1"/>
          </p:cNvSpPr>
          <p:nvPr/>
        </p:nvSpPr>
        <p:spPr bwMode="auto">
          <a:xfrm>
            <a:off x="1840813" y="1459803"/>
            <a:ext cx="1785752" cy="584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1600" b="1" dirty="0">
                <a:solidFill>
                  <a:schemeClr val="tx1"/>
                </a:solidFill>
                <a:latin typeface="Interstate-Light" pitchFamily="2" charset="0"/>
                <a:cs typeface="Arial" pitchFamily="34" charset="0"/>
              </a:rPr>
              <a:t>Service Control Platform</a:t>
            </a:r>
            <a:endParaRPr lang="en-US" sz="1600" dirty="0">
              <a:solidFill>
                <a:schemeClr val="tx1"/>
              </a:solidFill>
              <a:latin typeface="Interstate-Light" pitchFamily="2" charset="0"/>
              <a:cs typeface="Arial" pitchFamily="34" charset="0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3714155" y="2795640"/>
            <a:ext cx="848220" cy="859863"/>
            <a:chOff x="4302775" y="3272866"/>
            <a:chExt cx="848220" cy="85986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52" name="Group 34"/>
            <p:cNvGrpSpPr/>
            <p:nvPr/>
          </p:nvGrpSpPr>
          <p:grpSpPr>
            <a:xfrm>
              <a:off x="4302775" y="3693118"/>
              <a:ext cx="848220" cy="439611"/>
              <a:chOff x="4302775" y="3693118"/>
              <a:chExt cx="848220" cy="681658"/>
            </a:xfrm>
          </p:grpSpPr>
          <p:pic>
            <p:nvPicPr>
              <p:cNvPr id="56" name="Picture 398" descr="RouterBroadbnd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4302775" y="3693118"/>
                <a:ext cx="489632" cy="493399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</p:pic>
          <p:pic>
            <p:nvPicPr>
              <p:cNvPr id="57" name="Picture 398" descr="RouterBroadbnd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4661363" y="3881377"/>
                <a:ext cx="489632" cy="493399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</p:pic>
        </p:grpSp>
        <p:grpSp>
          <p:nvGrpSpPr>
            <p:cNvPr id="53" name="Group 39"/>
            <p:cNvGrpSpPr/>
            <p:nvPr/>
          </p:nvGrpSpPr>
          <p:grpSpPr>
            <a:xfrm>
              <a:off x="4325284" y="3272866"/>
              <a:ext cx="798514" cy="530225"/>
              <a:chOff x="4594225" y="3416301"/>
              <a:chExt cx="798514" cy="530225"/>
            </a:xfrm>
          </p:grpSpPr>
          <p:pic>
            <p:nvPicPr>
              <p:cNvPr id="54" name="Picture 49" descr="SC_PacketThi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4594225" y="3416301"/>
                <a:ext cx="584201" cy="390525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55" name="Picture 50" descr="SC_PacketThing"/>
              <p:cNvPicPr>
                <a:picLocks noChangeAspect="1" noChangeArrowheads="1"/>
              </p:cNvPicPr>
              <p:nvPr/>
            </p:nvPicPr>
            <p:blipFill>
              <a:blip r:embed="rId6" cstate="print">
                <a:lum contrast="30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4810126" y="3556001"/>
                <a:ext cx="582613" cy="390525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</p:grpSp>
      </p:grpSp>
      <p:cxnSp>
        <p:nvCxnSpPr>
          <p:cNvPr id="65" name="Straight Arrow Connector 64"/>
          <p:cNvCxnSpPr/>
          <p:nvPr/>
        </p:nvCxnSpPr>
        <p:spPr>
          <a:xfrm rot="5400000">
            <a:off x="2069321" y="2656592"/>
            <a:ext cx="708960" cy="447675"/>
          </a:xfrm>
          <a:prstGeom prst="straightConnector1">
            <a:avLst/>
          </a:prstGeom>
          <a:ln w="76200">
            <a:solidFill>
              <a:srgbClr val="FF0000"/>
            </a:solidFill>
            <a:tailEnd type="stealth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/>
          <p:cNvCxnSpPr/>
          <p:nvPr/>
        </p:nvCxnSpPr>
        <p:spPr>
          <a:xfrm>
            <a:off x="2638674" y="2534914"/>
            <a:ext cx="1097990" cy="455989"/>
          </a:xfrm>
          <a:prstGeom prst="straightConnector1">
            <a:avLst/>
          </a:prstGeom>
          <a:ln w="76200">
            <a:solidFill>
              <a:srgbClr val="FF0000"/>
            </a:solidFill>
            <a:tailEnd type="stealth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1401" name="Picture 27" descr="D:\Install\Media\JPGs\database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315944" y="2106569"/>
            <a:ext cx="781052" cy="720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2000" endA="300" endPos="35000" dir="5400000" sy="-100000" algn="bl" rotWithShape="0"/>
          </a:effectLst>
        </p:spPr>
      </p:pic>
      <p:sp>
        <p:nvSpPr>
          <p:cNvPr id="71" name="Rectangle 70"/>
          <p:cNvSpPr/>
          <p:nvPr/>
        </p:nvSpPr>
        <p:spPr>
          <a:xfrm>
            <a:off x="2495238" y="2848679"/>
            <a:ext cx="792000" cy="33855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it-IT" sz="1600" b="1" dirty="0" smtClean="0">
                <a:solidFill>
                  <a:schemeClr val="tx1"/>
                </a:solidFill>
                <a:latin typeface="Interstate-Light" pitchFamily="2" charset="0"/>
                <a:cs typeface="Arial" pitchFamily="34" charset="0"/>
              </a:rPr>
              <a:t>Policy</a:t>
            </a:r>
          </a:p>
        </p:txBody>
      </p:sp>
      <p:sp>
        <p:nvSpPr>
          <p:cNvPr id="72" name="Rectangle 71"/>
          <p:cNvSpPr/>
          <p:nvPr/>
        </p:nvSpPr>
        <p:spPr>
          <a:xfrm>
            <a:off x="3470102" y="2151530"/>
            <a:ext cx="1541929" cy="584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it-IT" sz="1600" b="1" dirty="0" smtClean="0">
                <a:solidFill>
                  <a:schemeClr val="tx1"/>
                </a:solidFill>
                <a:latin typeface="Interstate-Light" pitchFamily="2" charset="0"/>
                <a:cs typeface="Arial" pitchFamily="34" charset="0"/>
              </a:rPr>
              <a:t>Deep Packet Inspection</a:t>
            </a:r>
            <a:endParaRPr lang="it-IT" sz="1600" b="1" dirty="0">
              <a:solidFill>
                <a:schemeClr val="tx1"/>
              </a:solidFill>
              <a:latin typeface="Interstate-Light" pitchFamily="2" charset="0"/>
              <a:cs typeface="Arial" pitchFamily="34" charset="0"/>
            </a:endParaRPr>
          </a:p>
        </p:txBody>
      </p:sp>
      <p:sp>
        <p:nvSpPr>
          <p:cNvPr id="73" name="AutoShape 4"/>
          <p:cNvSpPr>
            <a:spLocks noChangeArrowheads="1"/>
          </p:cNvSpPr>
          <p:nvPr/>
        </p:nvSpPr>
        <p:spPr bwMode="auto">
          <a:xfrm rot="5130304">
            <a:off x="1090580" y="3043302"/>
            <a:ext cx="508689" cy="1415097"/>
          </a:xfrm>
          <a:prstGeom prst="can">
            <a:avLst>
              <a:gd name="adj" fmla="val 30211"/>
            </a:avLst>
          </a:prstGeom>
          <a:gradFill>
            <a:gsLst>
              <a:gs pos="0">
                <a:srgbClr val="CC00FF"/>
              </a:gs>
              <a:gs pos="13000">
                <a:srgbClr val="CC66FF"/>
              </a:gs>
              <a:gs pos="28000">
                <a:srgbClr val="CC99FF"/>
              </a:gs>
              <a:gs pos="42999">
                <a:srgbClr val="CC00FF"/>
              </a:gs>
              <a:gs pos="58000">
                <a:srgbClr val="9900CC"/>
              </a:gs>
              <a:gs pos="72000">
                <a:srgbClr val="CC00FF"/>
              </a:gs>
              <a:gs pos="87000">
                <a:srgbClr val="660066"/>
              </a:gs>
              <a:gs pos="100000">
                <a:srgbClr val="9900CC"/>
              </a:gs>
            </a:gsLst>
            <a:lin ang="0" scaled="0"/>
          </a:gra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OTT Traffi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4" name="AutoShape 4"/>
          <p:cNvSpPr>
            <a:spLocks noChangeArrowheads="1"/>
          </p:cNvSpPr>
          <p:nvPr/>
        </p:nvSpPr>
        <p:spPr bwMode="auto">
          <a:xfrm rot="5823502">
            <a:off x="3243174" y="3138849"/>
            <a:ext cx="188717" cy="1415097"/>
          </a:xfrm>
          <a:prstGeom prst="can">
            <a:avLst>
              <a:gd name="adj" fmla="val 30211"/>
            </a:avLst>
          </a:prstGeom>
          <a:gradFill>
            <a:gsLst>
              <a:gs pos="0">
                <a:srgbClr val="CC00FF"/>
              </a:gs>
              <a:gs pos="13000">
                <a:srgbClr val="CC66FF"/>
              </a:gs>
              <a:gs pos="28000">
                <a:srgbClr val="CC99FF"/>
              </a:gs>
              <a:gs pos="42999">
                <a:srgbClr val="CC00FF"/>
              </a:gs>
              <a:gs pos="58000">
                <a:srgbClr val="9900CC"/>
              </a:gs>
              <a:gs pos="72000">
                <a:srgbClr val="CC00FF"/>
              </a:gs>
              <a:gs pos="87000">
                <a:srgbClr val="660066"/>
              </a:gs>
              <a:gs pos="100000">
                <a:srgbClr val="9900CC"/>
              </a:gs>
            </a:gsLst>
            <a:lin ang="0" scaled="0"/>
          </a:gra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OTT Traffic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5" name="AutoShape 4"/>
          <p:cNvSpPr>
            <a:spLocks noChangeArrowheads="1"/>
          </p:cNvSpPr>
          <p:nvPr/>
        </p:nvSpPr>
        <p:spPr bwMode="auto">
          <a:xfrm rot="5160160">
            <a:off x="1227760" y="2765521"/>
            <a:ext cx="154305" cy="1313319"/>
          </a:xfrm>
          <a:prstGeom prst="can">
            <a:avLst>
              <a:gd name="adj" fmla="val 30196"/>
            </a:avLst>
          </a:prstGeom>
          <a:gradFill>
            <a:gsLst>
              <a:gs pos="0">
                <a:srgbClr val="000082"/>
              </a:gs>
              <a:gs pos="13000">
                <a:srgbClr val="0066FF"/>
              </a:gs>
              <a:gs pos="28000">
                <a:srgbClr val="66CCFF"/>
              </a:gs>
              <a:gs pos="42999">
                <a:srgbClr val="0066FF"/>
              </a:gs>
              <a:gs pos="58000">
                <a:srgbClr val="0000CC"/>
              </a:gs>
              <a:gs pos="72000">
                <a:srgbClr val="0066FF"/>
              </a:gs>
              <a:gs pos="87000">
                <a:srgbClr val="002060"/>
              </a:gs>
              <a:gs pos="100000">
                <a:srgbClr val="0047FF"/>
              </a:gs>
            </a:gsLst>
            <a:lin ang="0" scaled="0"/>
          </a:gra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VoIP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6" name="AutoShape 4"/>
          <p:cNvSpPr>
            <a:spLocks noChangeArrowheads="1"/>
          </p:cNvSpPr>
          <p:nvPr/>
        </p:nvSpPr>
        <p:spPr bwMode="auto">
          <a:xfrm rot="5833271">
            <a:off x="3287281" y="2990931"/>
            <a:ext cx="154305" cy="1382124"/>
          </a:xfrm>
          <a:prstGeom prst="can">
            <a:avLst>
              <a:gd name="adj" fmla="val 30196"/>
            </a:avLst>
          </a:prstGeom>
          <a:gradFill>
            <a:gsLst>
              <a:gs pos="0">
                <a:srgbClr val="000082"/>
              </a:gs>
              <a:gs pos="13000">
                <a:srgbClr val="0066FF"/>
              </a:gs>
              <a:gs pos="28000">
                <a:srgbClr val="66CCFF"/>
              </a:gs>
              <a:gs pos="42999">
                <a:srgbClr val="0066FF"/>
              </a:gs>
              <a:gs pos="58000">
                <a:srgbClr val="0000CC"/>
              </a:gs>
              <a:gs pos="72000">
                <a:srgbClr val="0066FF"/>
              </a:gs>
              <a:gs pos="87000">
                <a:srgbClr val="002060"/>
              </a:gs>
              <a:gs pos="100000">
                <a:srgbClr val="0047FF"/>
              </a:gs>
            </a:gsLst>
            <a:lin ang="0" scaled="0"/>
          </a:gradFill>
          <a:ln w="9525">
            <a:solidFill>
              <a:schemeClr val="tx1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VoIP</a:t>
            </a:r>
            <a:endParaRPr lang="en-US" sz="1200" b="1" dirty="0">
              <a:solidFill>
                <a:schemeClr val="bg1"/>
              </a:solidFill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1885353" y="3234909"/>
            <a:ext cx="848220" cy="859863"/>
            <a:chOff x="4302775" y="3272866"/>
            <a:chExt cx="848220" cy="85986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5" name="Group 34"/>
            <p:cNvGrpSpPr/>
            <p:nvPr/>
          </p:nvGrpSpPr>
          <p:grpSpPr>
            <a:xfrm>
              <a:off x="4302775" y="3693118"/>
              <a:ext cx="848220" cy="439611"/>
              <a:chOff x="4302775" y="3693118"/>
              <a:chExt cx="848220" cy="681658"/>
            </a:xfrm>
          </p:grpSpPr>
          <p:pic>
            <p:nvPicPr>
              <p:cNvPr id="33" name="Picture 398" descr="RouterBroadbnd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4302775" y="3693118"/>
                <a:ext cx="489632" cy="493399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</p:pic>
          <p:pic>
            <p:nvPicPr>
              <p:cNvPr id="34" name="Picture 398" descr="RouterBroadbnd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4661363" y="3881377"/>
                <a:ext cx="489632" cy="493399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</p:spPr>
          </p:pic>
        </p:grpSp>
        <p:grpSp>
          <p:nvGrpSpPr>
            <p:cNvPr id="40" name="Group 39"/>
            <p:cNvGrpSpPr/>
            <p:nvPr/>
          </p:nvGrpSpPr>
          <p:grpSpPr>
            <a:xfrm>
              <a:off x="4325284" y="3272866"/>
              <a:ext cx="798514" cy="530225"/>
              <a:chOff x="4594225" y="3416301"/>
              <a:chExt cx="798514" cy="530225"/>
            </a:xfrm>
          </p:grpSpPr>
          <p:pic>
            <p:nvPicPr>
              <p:cNvPr id="101388" name="Picture 49" descr="SC_PacketThi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lum contrast="30000"/>
              </a:blip>
              <a:srcRect/>
              <a:stretch>
                <a:fillRect/>
              </a:stretch>
            </p:blipFill>
            <p:spPr bwMode="auto">
              <a:xfrm>
                <a:off x="4594225" y="3416301"/>
                <a:ext cx="584201" cy="390525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  <p:pic>
            <p:nvPicPr>
              <p:cNvPr id="101389" name="Picture 50" descr="SC_PacketThing"/>
              <p:cNvPicPr>
                <a:picLocks noChangeAspect="1" noChangeArrowheads="1"/>
              </p:cNvPicPr>
              <p:nvPr/>
            </p:nvPicPr>
            <p:blipFill>
              <a:blip r:embed="rId6" cstate="print">
                <a:lum contrast="30000"/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4810126" y="3556001"/>
                <a:ext cx="582613" cy="390525"/>
              </a:xfrm>
              <a:prstGeom prst="rect">
                <a:avLst/>
              </a:prstGeom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  <a:reflection blurRad="6350" stA="50000" endA="300" endPos="55000" dir="5400000" sy="-100000" algn="bl" rotWithShape="0"/>
              </a:effectLst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</p:pic>
        </p:grpSp>
      </p:grpSp>
      <p:sp>
        <p:nvSpPr>
          <p:cNvPr id="44" name="Rounded Rectangle 43"/>
          <p:cNvSpPr/>
          <p:nvPr/>
        </p:nvSpPr>
        <p:spPr>
          <a:xfrm>
            <a:off x="5961034" y="2178996"/>
            <a:ext cx="3597034" cy="3599234"/>
          </a:xfrm>
          <a:prstGeom prst="roundRect">
            <a:avLst>
              <a:gd name="adj" fmla="val 3764"/>
            </a:avLst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0" bIns="45720" numCol="1" rtlCol="0" anchor="ctr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indent="-184758" algn="ctr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HIGHLIGHTS</a:t>
            </a:r>
          </a:p>
          <a:p>
            <a:pPr marL="180975" indent="-180975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Controllo del traffico e della qualità del servizio offerto</a:t>
            </a:r>
          </a:p>
          <a:p>
            <a:pPr marL="180975" indent="-180975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Business intelligence basata sull’analisi del traffico</a:t>
            </a:r>
          </a:p>
          <a:p>
            <a:pPr marL="180975" indent="-180975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Armonizzazione  delle politiche di Capacity Planning con gli obiettivi di Business Plan</a:t>
            </a:r>
          </a:p>
          <a:p>
            <a:pPr marL="180975" indent="-180975" defTabSz="912095" eaLnBrk="0" hangingPunct="0">
              <a:lnSpc>
                <a:spcPct val="120000"/>
              </a:lnSpc>
              <a:spcBef>
                <a:spcPct val="20000"/>
              </a:spcBef>
              <a:buClr>
                <a:srgbClr val="F4BF17"/>
              </a:buClr>
              <a:buSzPct val="40000"/>
              <a:buFont typeface="Marlett" pitchFamily="2" charset="2"/>
              <a:buChar char="g"/>
            </a:pPr>
            <a:r>
              <a:rPr lang="it-IT" sz="1600" b="1" spc="150" dirty="0" smtClean="0">
                <a:ln w="11430"/>
                <a:solidFill>
                  <a:schemeClr val="tx1"/>
                </a:solidFill>
                <a:latin typeface="Interstate-Light" pitchFamily="2" charset="0"/>
              </a:rPr>
              <a:t>Sviluppo di servizi a valore aggiunto Network-based</a:t>
            </a:r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it-IT" smtClean="0"/>
              <a:t>PG. </a:t>
            </a:r>
            <a:fld id="{ACECC0B5-3E23-4A87-8F07-914B16C9BBD1}" type="slidenum">
              <a:rPr lang="it-IT" smtClean="0"/>
              <a:pPr/>
              <a:t>9</a:t>
            </a:fld>
            <a:endParaRPr lang="it-IT" sz="1400">
              <a:latin typeface="Times New Roman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1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1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88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4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R8IhDnVUm9fkVDM1aC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hU6ERB.0ObCdOZ_Pgv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w9KYm7d0KoC4AbsuHz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K5PjaD8UyiyBiGKlRB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bHMaMKPkeLriBV6Glx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vAJYj.9km9v8XD1pJp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QY0TbMKUKIQN8Y9DS9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imbOLe6Eatw9zKcvD4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Ws0hwIMkuu1GzhsMNJ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2Dqgit.Uq.WoAx1fSY8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JU_LquRkiW2auzb3oK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4Gd.L3kGg_7H3qy31SA"/>
</p:tagLst>
</file>

<file path=ppt/theme/theme1.xml><?xml version="1.0" encoding="utf-8"?>
<a:theme xmlns:a="http://schemas.openxmlformats.org/drawingml/2006/main" name="Presentazione2A">
  <a:themeElements>
    <a:clrScheme name="Foundry">
      <a:dk1>
        <a:sysClr val="windowText" lastClr="000000"/>
      </a:dk1>
      <a:lt1>
        <a:sysClr val="window" lastClr="FFFFFF"/>
      </a:lt1>
      <a:dk2>
        <a:srgbClr val="676A55"/>
      </a:dk2>
      <a:lt2>
        <a:srgbClr val="EAEBDE"/>
      </a:lt2>
      <a:accent1>
        <a:srgbClr val="72A376"/>
      </a:accent1>
      <a:accent2>
        <a:srgbClr val="B0CCB0"/>
      </a:accent2>
      <a:accent3>
        <a:srgbClr val="A8CDD7"/>
      </a:accent3>
      <a:accent4>
        <a:srgbClr val="C0BEAF"/>
      </a:accent4>
      <a:accent5>
        <a:srgbClr val="CEC597"/>
      </a:accent5>
      <a:accent6>
        <a:srgbClr val="E8B7B7"/>
      </a:accent6>
      <a:hlink>
        <a:srgbClr val="DB5353"/>
      </a:hlink>
      <a:folHlink>
        <a:srgbClr val="903638"/>
      </a:folHlink>
    </a:clrScheme>
    <a:fontScheme name="Presentazione2A">
      <a:majorFont>
        <a:latin typeface="InterstateLight"/>
        <a:ea typeface=""/>
        <a:cs typeface=""/>
      </a:majorFont>
      <a:minorFont>
        <a:latin typeface="Interstate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25400"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Presentazione2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2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2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2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2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zione2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2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2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2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2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2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zione2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zione2A</Template>
  <TotalTime>9043</TotalTime>
  <Words>629</Words>
  <Application>Microsoft Office PowerPoint</Application>
  <PresentationFormat>A4 Paper (210x297 mm)</PresentationFormat>
  <Paragraphs>232</Paragraphs>
  <Slides>14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Presentazione2A</vt:lpstr>
      <vt:lpstr>Tecnologia e servizi</vt:lpstr>
      <vt:lpstr>L’avvento della Zettabyte era</vt:lpstr>
      <vt:lpstr>Nuovi modelli di business emergenti: OTT </vt:lpstr>
      <vt:lpstr>Innovazione: i driver</vt:lpstr>
      <vt:lpstr>Innovazione tecnologica: lo scopo</vt:lpstr>
      <vt:lpstr>Il dominio dell’innovazione: l’infrastruttura</vt:lpstr>
      <vt:lpstr>Piattaforme e accesso: uno sviluppo armonico</vt:lpstr>
      <vt:lpstr>Application Aware Network</vt:lpstr>
      <vt:lpstr>Application Aware Network</vt:lpstr>
      <vt:lpstr>Innovazione nei Servizi: il modello IMS</vt:lpstr>
      <vt:lpstr>Innovazione nei Servizi: UC e Virtual IP-PBX</vt:lpstr>
      <vt:lpstr>Evoluzione verso il Cloud Computing</vt:lpstr>
      <vt:lpstr>L’evoluzione dell’Infrastruttura: NGN</vt:lpstr>
      <vt:lpstr>Slide 14</vt:lpstr>
    </vt:vector>
  </TitlesOfParts>
  <Company>ADV ACTIV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nicoletta</dc:creator>
  <cp:lastModifiedBy>fastweb</cp:lastModifiedBy>
  <cp:revision>1127</cp:revision>
  <dcterms:created xsi:type="dcterms:W3CDTF">2009-07-14T17:18:00Z</dcterms:created>
  <dcterms:modified xsi:type="dcterms:W3CDTF">2010-03-24T16:48:41Z</dcterms:modified>
</cp:coreProperties>
</file>